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1" r:id="rId1"/>
    <p:sldMasterId id="2147483705" r:id="rId2"/>
  </p:sldMasterIdLst>
  <p:notesMasterIdLst>
    <p:notesMasterId r:id="rId9"/>
  </p:notesMasterIdLst>
  <p:sldIdLst>
    <p:sldId id="2134805739" r:id="rId3"/>
    <p:sldId id="2134805740" r:id="rId4"/>
    <p:sldId id="2134805741" r:id="rId5"/>
    <p:sldId id="2134805742" r:id="rId6"/>
    <p:sldId id="2134805743" r:id="rId7"/>
    <p:sldId id="2134805744" r:id="rId8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E4A85"/>
    <a:srgbClr val="EE7167"/>
    <a:srgbClr val="FBF9CF"/>
    <a:srgbClr val="2E4A9F"/>
    <a:srgbClr val="E79523"/>
    <a:srgbClr val="81B4BF"/>
    <a:srgbClr val="6CA5BF"/>
    <a:srgbClr val="10687F"/>
    <a:srgbClr val="B5D2DF"/>
    <a:srgbClr val="81B5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1"/>
    <p:restoredTop sz="94646"/>
  </p:normalViewPr>
  <p:slideViewPr>
    <p:cSldViewPr snapToGrid="0">
      <p:cViewPr varScale="1">
        <p:scale>
          <a:sx n="104" d="100"/>
          <a:sy n="104" d="100"/>
        </p:scale>
        <p:origin x="83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18" Type="http://schemas.openxmlformats.org/officeDocument/2006/relationships/customXml" Target="../customXml/item3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17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6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urica Balmus" userId="6ced275c-8f26-4151-a9fa-58ab8d94c012" providerId="ADAL" clId="{800479E9-988E-4ED3-B2F7-E557D67CDAFB}"/>
    <pc:docChg chg="delSld">
      <pc:chgData name="Aurica Balmus" userId="6ced275c-8f26-4151-a9fa-58ab8d94c012" providerId="ADAL" clId="{800479E9-988E-4ED3-B2F7-E557D67CDAFB}" dt="2023-06-14T14:49:58.542" v="0" actId="47"/>
      <pc:docMkLst>
        <pc:docMk/>
      </pc:docMkLst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3854334814" sldId="642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2956429205" sldId="643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3920363813" sldId="4356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2497936982" sldId="4371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759086077" sldId="2134805716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83005036" sldId="2134805717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643682687" sldId="2134805718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3099103510" sldId="2134805719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1735635387" sldId="2134805723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3538833564" sldId="2134805724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1916213438" sldId="2134805725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1829491747" sldId="2134805726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2706886163" sldId="2134805727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2652214851" sldId="2134805728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2875333973" sldId="2134805729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1886278171" sldId="2134805730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279048715" sldId="2134805731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2474183524" sldId="2134805732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1926760408" sldId="2134805733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4241387110" sldId="2134805734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694049602" sldId="2134805735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615297371" sldId="2134805736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2144400381" sldId="2134805737"/>
        </pc:sldMkLst>
      </pc:sldChg>
      <pc:sldChg chg="del">
        <pc:chgData name="Aurica Balmus" userId="6ced275c-8f26-4151-a9fa-58ab8d94c012" providerId="ADAL" clId="{800479E9-988E-4ED3-B2F7-E557D67CDAFB}" dt="2023-06-14T14:49:58.542" v="0" actId="47"/>
        <pc:sldMkLst>
          <pc:docMk/>
          <pc:sldMk cId="69363512" sldId="2134805738"/>
        </pc:sldMkLst>
      </pc:sldChg>
      <pc:sldMasterChg chg="delSldLayout">
        <pc:chgData name="Aurica Balmus" userId="6ced275c-8f26-4151-a9fa-58ab8d94c012" providerId="ADAL" clId="{800479E9-988E-4ED3-B2F7-E557D67CDAFB}" dt="2023-06-14T14:49:58.542" v="0" actId="47"/>
        <pc:sldMasterMkLst>
          <pc:docMk/>
          <pc:sldMasterMk cId="3563659250" sldId="2147483661"/>
        </pc:sldMasterMkLst>
        <pc:sldLayoutChg chg="del">
          <pc:chgData name="Aurica Balmus" userId="6ced275c-8f26-4151-a9fa-58ab8d94c012" providerId="ADAL" clId="{800479E9-988E-4ED3-B2F7-E557D67CDAFB}" dt="2023-06-14T14:49:58.542" v="0" actId="47"/>
          <pc:sldLayoutMkLst>
            <pc:docMk/>
            <pc:sldMasterMk cId="3563659250" sldId="2147483661"/>
            <pc:sldLayoutMk cId="3947962561" sldId="2147483700"/>
          </pc:sldLayoutMkLst>
        </pc:sldLayoutChg>
        <pc:sldLayoutChg chg="del">
          <pc:chgData name="Aurica Balmus" userId="6ced275c-8f26-4151-a9fa-58ab8d94c012" providerId="ADAL" clId="{800479E9-988E-4ED3-B2F7-E557D67CDAFB}" dt="2023-06-14T14:49:58.542" v="0" actId="47"/>
          <pc:sldLayoutMkLst>
            <pc:docMk/>
            <pc:sldMasterMk cId="3563659250" sldId="2147483661"/>
            <pc:sldLayoutMk cId="651662319" sldId="2147483701"/>
          </pc:sldLayoutMkLst>
        </pc:sldLayoutChg>
        <pc:sldLayoutChg chg="del">
          <pc:chgData name="Aurica Balmus" userId="6ced275c-8f26-4151-a9fa-58ab8d94c012" providerId="ADAL" clId="{800479E9-988E-4ED3-B2F7-E557D67CDAFB}" dt="2023-06-14T14:49:58.542" v="0" actId="47"/>
          <pc:sldLayoutMkLst>
            <pc:docMk/>
            <pc:sldMasterMk cId="3563659250" sldId="2147483661"/>
            <pc:sldLayoutMk cId="1061079235" sldId="2147483703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3DAF4E-86E2-4DDA-A775-A013631BF82F}" type="datetimeFigureOut">
              <a:rPr lang="en-US" smtClean="0"/>
              <a:t>6/14/2023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490094-CFB3-4346-80E1-13C64FF5F7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7360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2.jpe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5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2.png"/><Relationship Id="rId11" Type="http://schemas.openxmlformats.org/officeDocument/2006/relationships/image" Target="../media/image21.png"/><Relationship Id="rId5" Type="http://schemas.openxmlformats.org/officeDocument/2006/relationships/image" Target="../media/image1.emf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33.bin"/><Relationship Id="rId9" Type="http://schemas.openxmlformats.org/officeDocument/2006/relationships/image" Target="../media/image19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23.emf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9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23.emf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4" Type="http://schemas.openxmlformats.org/officeDocument/2006/relationships/image" Target="../media/image23.emf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image" Target="../media/image23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39.bin"/><Relationship Id="rId4" Type="http://schemas.openxmlformats.org/officeDocument/2006/relationships/tags" Target="../tags/tag61.xml"/><Relationship Id="rId9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C4A3343-C30F-1C45-9610-402B1F360A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DEE1AA8C-E15D-A44A-9406-A5219CE72065}"/>
              </a:ext>
            </a:extLst>
          </p:cNvPr>
          <p:cNvSpPr/>
          <p:nvPr userDrawn="1"/>
        </p:nvSpPr>
        <p:spPr>
          <a:xfrm>
            <a:off x="4" y="2"/>
            <a:ext cx="12192000" cy="6858000"/>
          </a:xfrm>
          <a:prstGeom prst="rect">
            <a:avLst/>
          </a:prstGeom>
          <a:solidFill>
            <a:srgbClr val="0889A8">
              <a:alpha val="94902"/>
            </a:srgb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2831289"/>
              </p:ext>
            </p:extLst>
          </p:nvPr>
        </p:nvGraphicFramePr>
        <p:xfrm>
          <a:off x="4" y="3"/>
          <a:ext cx="211668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83" imgH="385" progId="TCLayout.ActiveDocument.1">
                  <p:embed/>
                </p:oleObj>
              </mc:Choice>
              <mc:Fallback>
                <p:oleObj name="Diapositive think-cell" r:id="rId4" imgW="383" imgH="38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" y="3"/>
                        <a:ext cx="211668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>
            <a:extLst>
              <a:ext uri="{FF2B5EF4-FFF2-40B4-BE49-F238E27FC236}">
                <a16:creationId xmlns:a16="http://schemas.microsoft.com/office/drawing/2014/main" id="{0FEF2971-18CA-A447-B977-0E8BA063D8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481899" y="3993160"/>
            <a:ext cx="6564923" cy="215444"/>
          </a:xfrm>
        </p:spPr>
        <p:txBody>
          <a:bodyPr wrap="square" lIns="0" tIns="0" rIns="0" bIns="0" anchor="t">
            <a:spAutoFit/>
          </a:bodyPr>
          <a:lstStyle>
            <a:lvl1pPr marL="0" indent="0" algn="l" rtl="0">
              <a:spcAft>
                <a:spcPts val="0"/>
              </a:spcAft>
              <a:buNone/>
              <a:defRPr sz="1400" b="0" cap="all" spc="30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36433" indent="0" algn="ctr">
              <a:buNone/>
              <a:defRPr sz="2300"/>
            </a:lvl2pPr>
            <a:lvl3pPr marL="1072866" indent="0" algn="ctr">
              <a:buNone/>
              <a:defRPr sz="2100"/>
            </a:lvl3pPr>
            <a:lvl4pPr marL="1609298" indent="0" algn="ctr">
              <a:buNone/>
              <a:defRPr sz="1900"/>
            </a:lvl4pPr>
            <a:lvl5pPr marL="2145731" indent="0" algn="ctr">
              <a:buNone/>
              <a:defRPr sz="1900"/>
            </a:lvl5pPr>
            <a:lvl6pPr marL="2682164" indent="0" algn="ctr">
              <a:buNone/>
              <a:defRPr sz="1900"/>
            </a:lvl6pPr>
            <a:lvl7pPr marL="3218597" indent="0" algn="ctr">
              <a:buNone/>
              <a:defRPr sz="1900"/>
            </a:lvl7pPr>
            <a:lvl8pPr marL="3755029" indent="0" algn="ctr">
              <a:buNone/>
              <a:defRPr sz="1900"/>
            </a:lvl8pPr>
            <a:lvl9pPr marL="4291462" indent="0" algn="ctr">
              <a:buNone/>
              <a:defRPr sz="1900"/>
            </a:lvl9pPr>
          </a:lstStyle>
          <a:p>
            <a:r>
              <a:rPr lang="en-GB"/>
              <a:t>Sub-title and dat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21B53F68-7CEB-4F4B-A468-2B1D397F0E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81900" y="2757412"/>
            <a:ext cx="8082916" cy="646331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buFont typeface="Arial" panose="020B0604020202020204" pitchFamily="34" charset="0"/>
              <a:buNone/>
              <a:defRPr sz="4200" b="0" baseline="0">
                <a:solidFill>
                  <a:schemeClr val="bg1"/>
                </a:solidFill>
                <a:latin typeface="Lato Light" panose="020F0302020204030203" pitchFamily="34" charset="0"/>
              </a:defRPr>
            </a:lvl1pPr>
          </a:lstStyle>
          <a:p>
            <a:pPr lvl="0"/>
            <a:r>
              <a:rPr lang="en-GB"/>
              <a:t>Title is </a:t>
            </a:r>
            <a:r>
              <a:rPr lang="en-GB" err="1"/>
              <a:t>Lato</a:t>
            </a:r>
            <a:r>
              <a:rPr lang="en-GB"/>
              <a:t> Light 42 point</a:t>
            </a:r>
          </a:p>
        </p:txBody>
      </p:sp>
      <p:cxnSp>
        <p:nvCxnSpPr>
          <p:cNvPr id="24" name="Line">
            <a:extLst>
              <a:ext uri="{FF2B5EF4-FFF2-40B4-BE49-F238E27FC236}">
                <a16:creationId xmlns:a16="http://schemas.microsoft.com/office/drawing/2014/main" id="{E277333D-8D22-DE4D-BED7-4452956ECF14}"/>
              </a:ext>
            </a:extLst>
          </p:cNvPr>
          <p:cNvCxnSpPr>
            <a:cxnSpLocks/>
          </p:cNvCxnSpPr>
          <p:nvPr userDrawn="1"/>
        </p:nvCxnSpPr>
        <p:spPr>
          <a:xfrm>
            <a:off x="3481899" y="3709468"/>
            <a:ext cx="562708" cy="0"/>
          </a:xfrm>
          <a:prstGeom prst="line">
            <a:avLst/>
          </a:prstGeom>
          <a:ln w="28575">
            <a:solidFill>
              <a:srgbClr val="881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36EC3E5E-8C80-C44A-AD67-64D64758C168}"/>
              </a:ext>
            </a:extLst>
          </p:cNvPr>
          <p:cNvSpPr/>
          <p:nvPr userDrawn="1"/>
        </p:nvSpPr>
        <p:spPr>
          <a:xfrm>
            <a:off x="0" y="1695088"/>
            <a:ext cx="2250831" cy="3474237"/>
          </a:xfrm>
          <a:prstGeom prst="rect">
            <a:avLst/>
          </a:prstGeom>
          <a:solidFill>
            <a:srgbClr val="881946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4625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600" kern="1200">
              <a:solidFill>
                <a:schemeClr val="tx1"/>
              </a:solidFill>
              <a:latin typeface="+mj-lt"/>
              <a:ea typeface="+mn-ea"/>
              <a:cs typeface="Arial" pitchFamily="34" charset="0"/>
            </a:endParaRPr>
          </a:p>
        </p:txBody>
      </p:sp>
      <p:pic>
        <p:nvPicPr>
          <p:cNvPr id="11" name="Picture 10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CE608940-7CC6-4FCC-BE50-86A0F850C8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232" y="3121216"/>
            <a:ext cx="1621639" cy="457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044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2298">
          <p15:clr>
            <a:srgbClr val="FBAE40"/>
          </p15:clr>
        </p15:guide>
        <p15:guide id="4" orient="horz" pos="2432">
          <p15:clr>
            <a:srgbClr val="FBAE40"/>
          </p15:clr>
        </p15:guide>
        <p15:guide id="5" orient="horz" pos="2568">
          <p15:clr>
            <a:srgbClr val="FBAE40"/>
          </p15:clr>
        </p15:guide>
        <p15:guide id="6" orient="horz" pos="2702">
          <p15:clr>
            <a:srgbClr val="FBAE40"/>
          </p15:clr>
        </p15:guide>
        <p15:guide id="7" orient="horz" pos="2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 + takeawa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0600570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>
            <a:spLocks/>
          </p:cNvSpPr>
          <p:nvPr userDrawn="1"/>
        </p:nvSpPr>
        <p:spPr>
          <a:xfrm>
            <a:off x="1" y="0"/>
            <a:ext cx="629470" cy="984142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943689" y="91963"/>
            <a:ext cx="10618842" cy="800219"/>
          </a:xfrm>
        </p:spPr>
        <p:txBody>
          <a:bodyPr vert="horz" wrap="square" anchor="ctr">
            <a:spAutoFit/>
          </a:bodyPr>
          <a:lstStyle>
            <a:lvl1pPr rtl="0">
              <a:defRPr sz="2600" baseline="0">
                <a:solidFill>
                  <a:srgbClr val="881946"/>
                </a:solidFill>
                <a:latin typeface="+mj-lt"/>
              </a:defRPr>
            </a:lvl1pPr>
          </a:lstStyle>
          <a:p>
            <a:r>
              <a:rPr lang="en-GB"/>
              <a:t>Title of the slide in </a:t>
            </a:r>
            <a:r>
              <a:rPr lang="en-GB" err="1"/>
              <a:t>Lato</a:t>
            </a:r>
            <a:r>
              <a:rPr lang="en-GB"/>
              <a:t> 26 points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943689" y="6377706"/>
            <a:ext cx="8059634" cy="307777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000" baseline="0">
                <a:solidFill>
                  <a:srgbClr val="606060"/>
                </a:solidFill>
              </a:defRPr>
            </a:lvl1pPr>
          </a:lstStyle>
          <a:p>
            <a:pPr lvl="0"/>
            <a:r>
              <a:rPr lang="en-GB"/>
              <a:t>This space is reserved for footnotes and sources only, and cannot be expanded beyond its current size.                                        Source: [Author/Publisher Name], [Report Name], [Year]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C611104-3FAB-422F-8E5E-5CD930E5A32C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943689" y="1257300"/>
            <a:ext cx="10621127" cy="50673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>
                <a:solidFill>
                  <a:srgbClr val="606060"/>
                </a:solidFill>
              </a:defRPr>
            </a:lvl1pPr>
            <a:lvl2pPr rtl="0">
              <a:defRPr>
                <a:solidFill>
                  <a:srgbClr val="606060"/>
                </a:solidFill>
              </a:defRPr>
            </a:lvl2pPr>
            <a:lvl3pPr rtl="0">
              <a:defRPr>
                <a:solidFill>
                  <a:srgbClr val="606060"/>
                </a:solidFill>
              </a:defRPr>
            </a:lvl3pPr>
            <a:lvl4pPr rtl="0">
              <a:defRPr>
                <a:solidFill>
                  <a:srgbClr val="606060"/>
                </a:solidFill>
              </a:defRPr>
            </a:lvl4pPr>
            <a:lvl5pPr rtl="0">
              <a:defRPr>
                <a:solidFill>
                  <a:srgbClr val="606060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162004" y="5553610"/>
            <a:ext cx="10182212" cy="770990"/>
          </a:xfrm>
          <a:prstGeom prst="rect">
            <a:avLst/>
          </a:prstGeom>
          <a:solidFill>
            <a:schemeClr val="bg1"/>
          </a:solidFill>
        </p:spPr>
        <p:txBody>
          <a:bodyPr wrap="square" lIns="182880" tIns="91440" rIns="182880" bIns="91440" anchor="ctr">
            <a:noAutofit/>
          </a:bodyPr>
          <a:lstStyle>
            <a:lvl1pPr marL="0" indent="0" algn="ctr" rtl="0">
              <a:buNone/>
              <a:defRPr sz="2000" b="0" i="1">
                <a:solidFill>
                  <a:schemeClr val="tx2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2000" b="1">
                <a:solidFill>
                  <a:schemeClr val="bg1"/>
                </a:solidFill>
              </a:defRPr>
            </a:lvl4pPr>
            <a:lvl5pPr>
              <a:defRPr sz="2000" b="1" baseline="0">
                <a:solidFill>
                  <a:schemeClr val="bg1"/>
                </a:solidFill>
              </a:defRPr>
            </a:lvl5pPr>
            <a:lvl6pPr>
              <a:defRPr sz="2000" b="1" baseline="0">
                <a:solidFill>
                  <a:schemeClr val="bg1"/>
                </a:solidFill>
              </a:defRPr>
            </a:lvl6pPr>
            <a:lvl7pPr>
              <a:defRPr sz="2000" b="1" baseline="0">
                <a:solidFill>
                  <a:schemeClr val="bg1"/>
                </a:solidFill>
              </a:defRPr>
            </a:lvl7pPr>
            <a:lvl8pPr>
              <a:defRPr sz="2000" b="1">
                <a:solidFill>
                  <a:schemeClr val="bg1"/>
                </a:solidFill>
              </a:defRPr>
            </a:lvl8pPr>
            <a:lvl9pPr>
              <a:defRPr sz="20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Key takeaway in </a:t>
            </a:r>
            <a:r>
              <a:rPr lang="en-GB" err="1"/>
              <a:t>Lato</a:t>
            </a:r>
            <a:r>
              <a:rPr lang="en-GB"/>
              <a:t> 20 points Italics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B08AB75-6F32-469C-BF0C-CAAB8351BF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276" y="399738"/>
            <a:ext cx="468922" cy="184666"/>
          </a:xfrm>
        </p:spPr>
        <p:txBody>
          <a:bodyPr wrap="square" anchor="ctr">
            <a:spAutoFit/>
          </a:bodyPr>
          <a:lstStyle>
            <a:lvl1pPr marL="0" indent="0" algn="ctr" rtl="0">
              <a:spcAft>
                <a:spcPts val="1200"/>
              </a:spcAft>
              <a:buNone/>
              <a:defRPr sz="12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1EF7F9D-BEB6-4B88-A956-7D5227998839}"/>
              </a:ext>
            </a:extLst>
          </p:cNvPr>
          <p:cNvSpPr/>
          <p:nvPr userDrawn="1"/>
        </p:nvSpPr>
        <p:spPr>
          <a:xfrm>
            <a:off x="11562530" y="6359076"/>
            <a:ext cx="629470" cy="498924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68EB3C0A-C523-4890-A962-8D5474812E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43978" y="6529864"/>
            <a:ext cx="28003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 rtl="0">
              <a:defRPr sz="1000">
                <a:solidFill>
                  <a:schemeClr val="bg1"/>
                </a:solidFill>
                <a:latin typeface="Lato" panose="020F0502020204030203" pitchFamily="34" charset="0"/>
                <a:cs typeface="Arial" pitchFamily="34" charset="0"/>
              </a:defRPr>
            </a:lvl1pPr>
          </a:lstStyle>
          <a:p>
            <a:fld id="{A90607E6-BCED-4FC1-A345-AB2A307AB80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DA6E45B-5A83-4B4C-BEFB-F94AD9B226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0621" y="6511926"/>
            <a:ext cx="869730" cy="215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4334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001164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943689" y="1252992"/>
            <a:ext cx="6313307" cy="307777"/>
          </a:xfrm>
        </p:spPr>
        <p:txBody>
          <a:bodyPr vert="horz" wrap="square" lIns="0" tIns="0" rIns="0" bIns="0" rtlCol="0">
            <a:spAutoFit/>
          </a:bodyPr>
          <a:lstStyle>
            <a:lvl1pPr marL="201162" indent="-201162" rtl="0">
              <a:buNone/>
              <a:defRPr lang="en-US" sz="2000" b="0" cap="none" baseline="0" dirty="0">
                <a:solidFill>
                  <a:srgbClr val="F3B11C"/>
                </a:solidFill>
              </a:defRPr>
            </a:lvl1pPr>
          </a:lstStyle>
          <a:p>
            <a:pPr marL="0" lvl="0" indent="0"/>
            <a:r>
              <a:rPr lang="en-GB"/>
              <a:t>Sub-title in </a:t>
            </a:r>
            <a:r>
              <a:rPr lang="en-GB" err="1"/>
              <a:t>Lato</a:t>
            </a:r>
            <a:r>
              <a:rPr lang="en-GB"/>
              <a:t> 20 points</a:t>
            </a:r>
          </a:p>
        </p:txBody>
      </p:sp>
      <p:sp>
        <p:nvSpPr>
          <p:cNvPr id="13" name="Rectangle 12"/>
          <p:cNvSpPr>
            <a:spLocks/>
          </p:cNvSpPr>
          <p:nvPr userDrawn="1"/>
        </p:nvSpPr>
        <p:spPr>
          <a:xfrm>
            <a:off x="1" y="0"/>
            <a:ext cx="629470" cy="984142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369912" y="1252991"/>
            <a:ext cx="4194903" cy="5071610"/>
          </a:xfrm>
          <a:solidFill>
            <a:srgbClr val="0889A8"/>
          </a:solidFill>
        </p:spPr>
        <p:txBody>
          <a:bodyPr wrap="square">
            <a:noAutofit/>
          </a:bodyPr>
          <a:lstStyle>
            <a:lvl1pPr marL="0" indent="0" rtl="0">
              <a:spcAft>
                <a:spcPts val="600"/>
              </a:spcAft>
              <a:buNone/>
              <a:defRPr sz="12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943689" y="292016"/>
            <a:ext cx="10621127" cy="400110"/>
          </a:xfrm>
        </p:spPr>
        <p:txBody>
          <a:bodyPr vert="horz" wrap="square" anchor="ctr">
            <a:spAutoFit/>
          </a:bodyPr>
          <a:lstStyle>
            <a:lvl1pPr rtl="0">
              <a:defRPr sz="2600" baseline="0">
                <a:solidFill>
                  <a:srgbClr val="881946"/>
                </a:solidFill>
                <a:latin typeface="+mj-lt"/>
              </a:defRPr>
            </a:lvl1pPr>
          </a:lstStyle>
          <a:p>
            <a:r>
              <a:rPr lang="en-GB"/>
              <a:t>Title of the slide in </a:t>
            </a:r>
            <a:r>
              <a:rPr lang="en-GB" err="1"/>
              <a:t>Lato</a:t>
            </a:r>
            <a:r>
              <a:rPr lang="en-GB"/>
              <a:t> 26 points.  Max 1 lin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43689" y="1707337"/>
            <a:ext cx="6313307" cy="184666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200" cap="all" baseline="0">
                <a:solidFill>
                  <a:srgbClr val="60606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ext in </a:t>
            </a:r>
            <a:r>
              <a:rPr lang="en-GB" err="1"/>
              <a:t>lato</a:t>
            </a:r>
            <a:r>
              <a:rPr lang="en-GB"/>
              <a:t> 12 points all caps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943689" y="1996629"/>
            <a:ext cx="6313307" cy="4327971"/>
          </a:xfrm>
        </p:spPr>
        <p:txBody>
          <a:bodyPr wrap="square">
            <a:noAutofit/>
          </a:bodyPr>
          <a:lstStyle>
            <a:lvl1pPr rtl="0">
              <a:spcAft>
                <a:spcPts val="600"/>
              </a:spcAft>
              <a:defRPr sz="1000">
                <a:solidFill>
                  <a:srgbClr val="60606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ype your text here</a:t>
            </a:r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7904284" y="1707337"/>
            <a:ext cx="3083456" cy="184666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200" b="1" cap="all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ype your title text here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7904284" y="1996629"/>
            <a:ext cx="3083456" cy="4319328"/>
          </a:xfrm>
        </p:spPr>
        <p:txBody>
          <a:bodyPr wrap="square">
            <a:noAutofit/>
          </a:bodyPr>
          <a:lstStyle>
            <a:lvl1pPr rtl="0">
              <a:spcAft>
                <a:spcPts val="600"/>
              </a:spcAft>
              <a:defRPr sz="10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ype your text here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943689" y="6377706"/>
            <a:ext cx="8059634" cy="307777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000" baseline="0">
                <a:solidFill>
                  <a:srgbClr val="606060"/>
                </a:solidFill>
              </a:defRPr>
            </a:lvl1pPr>
          </a:lstStyle>
          <a:p>
            <a:pPr lvl="0"/>
            <a:r>
              <a:rPr lang="en-GB"/>
              <a:t>This space is reserved for footnotes and sources only, and cannot be expanded beyond its current size.                                        Source: [Author/Publisher Name], [Report Name], [Year]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49FD732-DDC9-4776-AE97-A9BA2881D0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276" y="399738"/>
            <a:ext cx="468922" cy="184666"/>
          </a:xfrm>
        </p:spPr>
        <p:txBody>
          <a:bodyPr wrap="square" anchor="ctr">
            <a:spAutoFit/>
          </a:bodyPr>
          <a:lstStyle>
            <a:lvl1pPr marL="0" indent="0" algn="ctr" rtl="0">
              <a:spcAft>
                <a:spcPts val="1200"/>
              </a:spcAft>
              <a:buNone/>
              <a:defRPr sz="12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80780AE-D7A2-4004-B2E5-D7796577DF6E}"/>
              </a:ext>
            </a:extLst>
          </p:cNvPr>
          <p:cNvSpPr/>
          <p:nvPr userDrawn="1"/>
        </p:nvSpPr>
        <p:spPr>
          <a:xfrm>
            <a:off x="11562530" y="6359076"/>
            <a:ext cx="629470" cy="498924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88345E53-7D85-4E56-8938-3EF899BB9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43978" y="6529864"/>
            <a:ext cx="28003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 rtl="0">
              <a:defRPr sz="1000">
                <a:solidFill>
                  <a:schemeClr val="bg1"/>
                </a:solidFill>
                <a:latin typeface="Lato" panose="020F0502020204030203" pitchFamily="34" charset="0"/>
                <a:cs typeface="Arial" pitchFamily="34" charset="0"/>
              </a:defRPr>
            </a:lvl1pPr>
          </a:lstStyle>
          <a:p>
            <a:fld id="{A90607E6-BCED-4FC1-A345-AB2A307AB80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2775669-8FDB-4D73-B0C3-46485F36734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0621" y="6511926"/>
            <a:ext cx="869730" cy="215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0666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65290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943689" y="1252992"/>
            <a:ext cx="6313307" cy="307777"/>
          </a:xfrm>
        </p:spPr>
        <p:txBody>
          <a:bodyPr vert="horz" wrap="square" lIns="0" tIns="0" rIns="0" bIns="0" rtlCol="0">
            <a:spAutoFit/>
          </a:bodyPr>
          <a:lstStyle>
            <a:lvl1pPr marL="201162" indent="-201162" rtl="0">
              <a:buNone/>
              <a:defRPr lang="en-US" sz="2000" b="0" cap="none" baseline="0" dirty="0">
                <a:solidFill>
                  <a:srgbClr val="F3B11C"/>
                </a:solidFill>
              </a:defRPr>
            </a:lvl1pPr>
          </a:lstStyle>
          <a:p>
            <a:pPr marL="0" lvl="0" indent="0"/>
            <a:r>
              <a:rPr lang="en-GB"/>
              <a:t>Sub-title in </a:t>
            </a:r>
            <a:r>
              <a:rPr lang="en-GB" err="1"/>
              <a:t>Lato</a:t>
            </a:r>
            <a:r>
              <a:rPr lang="en-GB"/>
              <a:t> 20 points</a:t>
            </a:r>
          </a:p>
        </p:txBody>
      </p:sp>
      <p:sp>
        <p:nvSpPr>
          <p:cNvPr id="13" name="Rectangle 12"/>
          <p:cNvSpPr>
            <a:spLocks/>
          </p:cNvSpPr>
          <p:nvPr userDrawn="1"/>
        </p:nvSpPr>
        <p:spPr>
          <a:xfrm>
            <a:off x="1" y="0"/>
            <a:ext cx="629470" cy="984142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369912" y="1252991"/>
            <a:ext cx="4194903" cy="5071610"/>
          </a:xfrm>
          <a:solidFill>
            <a:srgbClr val="918A87"/>
          </a:solidFill>
        </p:spPr>
        <p:txBody>
          <a:bodyPr vert="horz" wrap="square" lIns="0" tIns="0" rIns="0" bIns="0" rtlCol="0" anchor="ctr">
            <a:noAutofit/>
          </a:bodyPr>
          <a:lstStyle>
            <a:lvl1pPr rtl="0">
              <a:defRPr lang="en-US" sz="140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spcAft>
                <a:spcPts val="600"/>
              </a:spcAft>
              <a:buNone/>
            </a:pPr>
            <a:r>
              <a:rPr lang="en-GB"/>
              <a:t>Edit Master text styles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943689" y="292016"/>
            <a:ext cx="10621127" cy="400110"/>
          </a:xfrm>
        </p:spPr>
        <p:txBody>
          <a:bodyPr vert="horz" wrap="square" anchor="ctr">
            <a:spAutoFit/>
          </a:bodyPr>
          <a:lstStyle>
            <a:lvl1pPr rtl="0">
              <a:defRPr sz="2600" baseline="0">
                <a:solidFill>
                  <a:srgbClr val="881946"/>
                </a:solidFill>
                <a:latin typeface="+mj-lt"/>
              </a:defRPr>
            </a:lvl1pPr>
          </a:lstStyle>
          <a:p>
            <a:r>
              <a:rPr lang="en-GB"/>
              <a:t>Title of the slide in </a:t>
            </a:r>
            <a:r>
              <a:rPr lang="en-GB" err="1"/>
              <a:t>Lato</a:t>
            </a:r>
            <a:r>
              <a:rPr lang="en-GB"/>
              <a:t> 26 points.  Max 1 lin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43689" y="1707337"/>
            <a:ext cx="6313307" cy="184666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200" cap="all" baseline="0">
                <a:solidFill>
                  <a:srgbClr val="60606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ext in </a:t>
            </a:r>
            <a:r>
              <a:rPr lang="en-GB" err="1"/>
              <a:t>lato</a:t>
            </a:r>
            <a:r>
              <a:rPr lang="en-GB"/>
              <a:t> 12 points all caps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943689" y="1996629"/>
            <a:ext cx="6313307" cy="4327971"/>
          </a:xfrm>
        </p:spPr>
        <p:txBody>
          <a:bodyPr wrap="square">
            <a:noAutofit/>
          </a:bodyPr>
          <a:lstStyle>
            <a:lvl1pPr rtl="0">
              <a:spcAft>
                <a:spcPts val="600"/>
              </a:spcAft>
              <a:defRPr sz="1000">
                <a:solidFill>
                  <a:srgbClr val="60606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ype your text here</a:t>
            </a:r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7904284" y="1707337"/>
            <a:ext cx="3083456" cy="184666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200" b="1" cap="all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ype your title text here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7904284" y="1996629"/>
            <a:ext cx="3083456" cy="4319328"/>
          </a:xfrm>
        </p:spPr>
        <p:txBody>
          <a:bodyPr wrap="square">
            <a:noAutofit/>
          </a:bodyPr>
          <a:lstStyle>
            <a:lvl1pPr rtl="0">
              <a:spcAft>
                <a:spcPts val="600"/>
              </a:spcAft>
              <a:defRPr sz="10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ype your text here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943689" y="6377706"/>
            <a:ext cx="8059634" cy="307777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000" baseline="0">
                <a:solidFill>
                  <a:srgbClr val="606060"/>
                </a:solidFill>
              </a:defRPr>
            </a:lvl1pPr>
          </a:lstStyle>
          <a:p>
            <a:pPr lvl="0"/>
            <a:r>
              <a:rPr lang="en-GB"/>
              <a:t>This space is reserved for footnotes and sources only, and cannot be expanded beyond its current size.                                        Source: [Author/Publisher Name], [Report Name], [Year]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B68A9C93-4320-4F62-BD4B-3D01795D3C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276" y="399738"/>
            <a:ext cx="468922" cy="184666"/>
          </a:xfrm>
        </p:spPr>
        <p:txBody>
          <a:bodyPr wrap="square" anchor="ctr">
            <a:spAutoFit/>
          </a:bodyPr>
          <a:lstStyle>
            <a:lvl1pPr marL="0" indent="0" algn="ctr" rtl="0">
              <a:spcAft>
                <a:spcPts val="1200"/>
              </a:spcAft>
              <a:buNone/>
              <a:defRPr sz="12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BFCE6C5-D2B6-4A49-8CA7-1D1D3EAA25AD}"/>
              </a:ext>
            </a:extLst>
          </p:cNvPr>
          <p:cNvSpPr/>
          <p:nvPr userDrawn="1"/>
        </p:nvSpPr>
        <p:spPr>
          <a:xfrm>
            <a:off x="11562530" y="6359076"/>
            <a:ext cx="629470" cy="498924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F458950F-C999-4D7D-8E79-0411D94D26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43978" y="6529864"/>
            <a:ext cx="28003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 rtl="0">
              <a:defRPr sz="1000">
                <a:solidFill>
                  <a:schemeClr val="bg1"/>
                </a:solidFill>
                <a:latin typeface="Lato" panose="020F0502020204030203" pitchFamily="34" charset="0"/>
                <a:cs typeface="Arial" pitchFamily="34" charset="0"/>
              </a:defRPr>
            </a:lvl1pPr>
          </a:lstStyle>
          <a:p>
            <a:fld id="{A90607E6-BCED-4FC1-A345-AB2A307AB80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05A4C0E-C16C-4374-AFE7-C1C8232FAF2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0621" y="6511926"/>
            <a:ext cx="869730" cy="215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4067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547098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943689" y="1252992"/>
            <a:ext cx="6313307" cy="307777"/>
          </a:xfrm>
        </p:spPr>
        <p:txBody>
          <a:bodyPr vert="horz" wrap="square" lIns="0" tIns="0" rIns="0" bIns="0" rtlCol="0">
            <a:spAutoFit/>
          </a:bodyPr>
          <a:lstStyle>
            <a:lvl1pPr marL="201162" indent="-201162" rtl="0">
              <a:buNone/>
              <a:defRPr lang="en-US" sz="2000" b="0" cap="none" baseline="0" dirty="0">
                <a:solidFill>
                  <a:srgbClr val="F3B11C"/>
                </a:solidFill>
              </a:defRPr>
            </a:lvl1pPr>
          </a:lstStyle>
          <a:p>
            <a:pPr marL="0" lvl="0" indent="0"/>
            <a:r>
              <a:rPr lang="en-GB"/>
              <a:t>Sub-title in </a:t>
            </a:r>
            <a:r>
              <a:rPr lang="en-GB" err="1"/>
              <a:t>Lato</a:t>
            </a:r>
            <a:r>
              <a:rPr lang="en-GB"/>
              <a:t> 20 points</a:t>
            </a:r>
          </a:p>
        </p:txBody>
      </p:sp>
      <p:sp>
        <p:nvSpPr>
          <p:cNvPr id="13" name="Rectangle 12"/>
          <p:cNvSpPr>
            <a:spLocks/>
          </p:cNvSpPr>
          <p:nvPr userDrawn="1"/>
        </p:nvSpPr>
        <p:spPr>
          <a:xfrm>
            <a:off x="1" y="0"/>
            <a:ext cx="629470" cy="984142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369912" y="1252991"/>
            <a:ext cx="4194903" cy="5071610"/>
          </a:xfrm>
          <a:solidFill>
            <a:srgbClr val="F3B11C"/>
          </a:solidFill>
        </p:spPr>
        <p:txBody>
          <a:bodyPr wrap="square">
            <a:noAutofit/>
          </a:bodyPr>
          <a:lstStyle>
            <a:lvl1pPr marL="0" indent="0" rtl="0">
              <a:spcAft>
                <a:spcPts val="600"/>
              </a:spcAft>
              <a:buNone/>
              <a:defRPr sz="12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943689" y="292016"/>
            <a:ext cx="10621127" cy="400110"/>
          </a:xfrm>
        </p:spPr>
        <p:txBody>
          <a:bodyPr vert="horz" wrap="square" anchor="ctr">
            <a:spAutoFit/>
          </a:bodyPr>
          <a:lstStyle>
            <a:lvl1pPr rtl="0">
              <a:defRPr sz="2600" baseline="0">
                <a:solidFill>
                  <a:srgbClr val="881946"/>
                </a:solidFill>
                <a:latin typeface="+mj-lt"/>
              </a:defRPr>
            </a:lvl1pPr>
          </a:lstStyle>
          <a:p>
            <a:r>
              <a:rPr lang="en-GB"/>
              <a:t>Title of the slide in </a:t>
            </a:r>
            <a:r>
              <a:rPr lang="en-GB" err="1"/>
              <a:t>Lato</a:t>
            </a:r>
            <a:r>
              <a:rPr lang="en-GB"/>
              <a:t> 26 points.  Max 1 lin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43689" y="1707337"/>
            <a:ext cx="6313307" cy="184666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200" cap="all" baseline="0">
                <a:solidFill>
                  <a:srgbClr val="60606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ext in </a:t>
            </a:r>
            <a:r>
              <a:rPr lang="en-GB" err="1"/>
              <a:t>lato</a:t>
            </a:r>
            <a:r>
              <a:rPr lang="en-GB"/>
              <a:t> 12 points all caps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943689" y="1996629"/>
            <a:ext cx="6313307" cy="4327972"/>
          </a:xfrm>
        </p:spPr>
        <p:txBody>
          <a:bodyPr wrap="square">
            <a:noAutofit/>
          </a:bodyPr>
          <a:lstStyle>
            <a:lvl1pPr rtl="0">
              <a:spcAft>
                <a:spcPts val="600"/>
              </a:spcAft>
              <a:defRPr sz="1000">
                <a:solidFill>
                  <a:srgbClr val="60606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ype your text here</a:t>
            </a:r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7904284" y="1707337"/>
            <a:ext cx="3083456" cy="184666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200" b="1" cap="all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ype your title text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943689" y="6377706"/>
            <a:ext cx="8059634" cy="307777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000" baseline="0">
                <a:solidFill>
                  <a:srgbClr val="606060"/>
                </a:solidFill>
              </a:defRPr>
            </a:lvl1pPr>
          </a:lstStyle>
          <a:p>
            <a:pPr lvl="0"/>
            <a:r>
              <a:rPr lang="en-GB"/>
              <a:t>This space is reserved for footnotes and sources only, and cannot be expanded beyond its current size.                                        Source: [Author/Publisher Name], [Report Name], [Year]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5397553-447A-4E1B-93DA-1DCE56B04C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04284" y="1996629"/>
            <a:ext cx="3083456" cy="4319328"/>
          </a:xfrm>
        </p:spPr>
        <p:txBody>
          <a:bodyPr wrap="square">
            <a:noAutofit/>
          </a:bodyPr>
          <a:lstStyle>
            <a:lvl1pPr rtl="0">
              <a:spcAft>
                <a:spcPts val="600"/>
              </a:spcAft>
              <a:defRPr sz="10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ype your text her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927054CD-F755-44BF-BC83-4B5B46968D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276" y="399738"/>
            <a:ext cx="468922" cy="184666"/>
          </a:xfrm>
        </p:spPr>
        <p:txBody>
          <a:bodyPr wrap="square" anchor="ctr">
            <a:spAutoFit/>
          </a:bodyPr>
          <a:lstStyle>
            <a:lvl1pPr marL="0" indent="0" algn="ctr" rtl="0">
              <a:spcAft>
                <a:spcPts val="1200"/>
              </a:spcAft>
              <a:buNone/>
              <a:defRPr sz="12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20CCFCA-2EA5-4005-96ED-09FB33835489}"/>
              </a:ext>
            </a:extLst>
          </p:cNvPr>
          <p:cNvSpPr/>
          <p:nvPr userDrawn="1"/>
        </p:nvSpPr>
        <p:spPr>
          <a:xfrm>
            <a:off x="11562530" y="6359076"/>
            <a:ext cx="629470" cy="498924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80228121-BE9E-4192-AF30-C984DDD38C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37695" y="6528133"/>
            <a:ext cx="28003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 rtl="0">
              <a:defRPr sz="1000">
                <a:solidFill>
                  <a:schemeClr val="bg1"/>
                </a:solidFill>
                <a:latin typeface="Lato" panose="020F0502020204030203" pitchFamily="34" charset="0"/>
                <a:cs typeface="Arial" pitchFamily="34" charset="0"/>
              </a:defRPr>
            </a:lvl1pPr>
          </a:lstStyle>
          <a:p>
            <a:fld id="{A90607E6-BCED-4FC1-A345-AB2A307AB80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E69F768-3C7C-4E75-B11B-BCD11FC7D6B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0621" y="6511926"/>
            <a:ext cx="869730" cy="215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2889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460152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3"/>
          <p:cNvSpPr>
            <a:spLocks noChangeArrowheads="1"/>
          </p:cNvSpPr>
          <p:nvPr userDrawn="1"/>
        </p:nvSpPr>
        <p:spPr bwMode="gray">
          <a:xfrm>
            <a:off x="1" y="-2"/>
            <a:ext cx="6887126" cy="6858002"/>
          </a:xfrm>
          <a:prstGeom prst="rect">
            <a:avLst/>
          </a:prstGeom>
          <a:solidFill>
            <a:srgbClr val="0889A8"/>
          </a:solidFill>
          <a:ln>
            <a:noFill/>
          </a:ln>
          <a:effectLst/>
        </p:spPr>
        <p:txBody>
          <a:bodyPr wrap="none" lIns="107287" tIns="53643" rIns="107287" bIns="53643" anchor="ctr"/>
          <a:lstStyle/>
          <a:p>
            <a:pPr algn="ctr" rtl="0"/>
            <a:endParaRPr lang="en-US" sz="180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8102482" y="1257301"/>
            <a:ext cx="3462335" cy="276999"/>
          </a:xfrm>
        </p:spPr>
        <p:txBody>
          <a:bodyPr wrap="square" anchor="t">
            <a:spAutoFit/>
          </a:bodyPr>
          <a:lstStyle>
            <a:lvl1pPr marL="0" indent="0" rtl="0">
              <a:spcAft>
                <a:spcPts val="0"/>
              </a:spcAft>
              <a:buNone/>
              <a:defRPr sz="1800" baseline="0">
                <a:solidFill>
                  <a:srgbClr val="60606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ype your text here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548766" y="1257300"/>
            <a:ext cx="331451" cy="184666"/>
          </a:xfrm>
        </p:spPr>
        <p:txBody>
          <a:bodyPr wrap="square" anchor="t">
            <a:spAutoFit/>
          </a:bodyPr>
          <a:lstStyle>
            <a:lvl1pPr marL="0" indent="0" algn="l" rtl="0">
              <a:spcAft>
                <a:spcPts val="1200"/>
              </a:spcAft>
              <a:buNone/>
              <a:defRPr sz="1200" b="1">
                <a:solidFill>
                  <a:srgbClr val="60606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4C551BF-DD3F-EB48-A609-58ED1518B1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3059822"/>
            <a:ext cx="6887127" cy="646331"/>
          </a:xfrm>
        </p:spPr>
        <p:txBody>
          <a:bodyPr wrap="square" anchor="ctr">
            <a:spAutoFit/>
          </a:bodyPr>
          <a:lstStyle>
            <a:lvl1pPr marL="0" indent="0" algn="ctr" rtl="0">
              <a:buNone/>
              <a:defRPr sz="4200">
                <a:solidFill>
                  <a:schemeClr val="bg1"/>
                </a:solidFill>
                <a:latin typeface="Lato Light" panose="020F030202020403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 baseline="0"/>
            </a:lvl6pPr>
            <a:lvl7pPr>
              <a:defRPr baseline="0"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Table of Content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CD68A67-C767-45A9-A685-A7D0B2976D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8904" y="722571"/>
            <a:ext cx="2571262" cy="1254125"/>
          </a:xfrm>
        </p:spPr>
        <p:txBody>
          <a:bodyPr/>
          <a:lstStyle>
            <a:lvl1pPr marL="0" indent="0" rtl="0">
              <a:buNone/>
              <a:defRPr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o insert photo overlay, refer to instructions at end of deck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E08D920-DEC7-4BD2-AF74-D126E219A5F5}"/>
              </a:ext>
            </a:extLst>
          </p:cNvPr>
          <p:cNvSpPr/>
          <p:nvPr userDrawn="1"/>
        </p:nvSpPr>
        <p:spPr>
          <a:xfrm>
            <a:off x="11562530" y="6359076"/>
            <a:ext cx="629470" cy="498924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7B68DF96-36D2-4AD6-9C99-B882C6DA34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43978" y="6529864"/>
            <a:ext cx="28003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 rtl="0">
              <a:defRPr sz="1000">
                <a:solidFill>
                  <a:schemeClr val="bg1"/>
                </a:solidFill>
                <a:latin typeface="Lato" panose="020F0502020204030203" pitchFamily="34" charset="0"/>
                <a:cs typeface="Arial" pitchFamily="34" charset="0"/>
              </a:defRPr>
            </a:lvl1pPr>
          </a:lstStyle>
          <a:p>
            <a:fld id="{A90607E6-BCED-4FC1-A345-AB2A307AB80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7B0203E-1DA0-4113-8CDB-EA186F68514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0621" y="6511926"/>
            <a:ext cx="869730" cy="215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2892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658A18B7-DCA6-394F-A9E9-76D373225C4A}"/>
              </a:ext>
            </a:extLst>
          </p:cNvPr>
          <p:cNvSpPr/>
          <p:nvPr userDrawn="1"/>
        </p:nvSpPr>
        <p:spPr>
          <a:xfrm>
            <a:off x="6887128" y="0"/>
            <a:ext cx="5304873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186684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8102482" y="1257301"/>
            <a:ext cx="3462335" cy="276999"/>
          </a:xfrm>
        </p:spPr>
        <p:txBody>
          <a:bodyPr wrap="square" anchor="t">
            <a:spAutoFit/>
          </a:bodyPr>
          <a:lstStyle>
            <a:lvl1pPr marL="0" indent="0" rtl="0">
              <a:spcAft>
                <a:spcPts val="0"/>
              </a:spcAft>
              <a:buNone/>
              <a:defRPr sz="1800" baseline="0">
                <a:solidFill>
                  <a:srgbClr val="60606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ype your text here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548766" y="1257300"/>
            <a:ext cx="331451" cy="184666"/>
          </a:xfrm>
        </p:spPr>
        <p:txBody>
          <a:bodyPr wrap="square" anchor="t">
            <a:spAutoFit/>
          </a:bodyPr>
          <a:lstStyle>
            <a:lvl1pPr marL="0" indent="0" algn="l" rtl="0">
              <a:spcAft>
                <a:spcPts val="1200"/>
              </a:spcAft>
              <a:buNone/>
              <a:defRPr sz="1200" b="1">
                <a:solidFill>
                  <a:srgbClr val="60606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EE3482A0-22F6-45D7-BB8E-AF895773E244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34" y="-1"/>
            <a:ext cx="6887126" cy="6858002"/>
          </a:xfrm>
          <a:prstGeom prst="rect">
            <a:avLst/>
          </a:prstGeom>
          <a:solidFill>
            <a:srgbClr val="F3B11C">
              <a:alpha val="89804"/>
            </a:srgb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914400" rtl="0">
              <a:lnSpc>
                <a:spcPct val="100000"/>
              </a:lnSpc>
              <a:spcBef>
                <a:spcPts val="0"/>
              </a:spcBef>
            </a:pPr>
            <a:endParaRPr lang="en-US" sz="1600">
              <a:cs typeface="Arial" pitchFamily="34" charset="0"/>
            </a:endParaRP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3059822"/>
            <a:ext cx="6887127" cy="646331"/>
          </a:xfrm>
        </p:spPr>
        <p:txBody>
          <a:bodyPr wrap="square" anchor="ctr">
            <a:spAutoFit/>
          </a:bodyPr>
          <a:lstStyle>
            <a:lvl1pPr marL="0" indent="0" algn="ctr" rtl="0">
              <a:buNone/>
              <a:defRPr sz="4200">
                <a:solidFill>
                  <a:schemeClr val="bg1"/>
                </a:solidFill>
                <a:latin typeface="Lato Light" panose="020F030202020403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 baseline="0"/>
            </a:lvl6pPr>
            <a:lvl7pPr>
              <a:defRPr baseline="0"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Table of Content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B87DA55-6227-457E-9BA9-84205717E8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42275" y="1133886"/>
            <a:ext cx="2571262" cy="1254125"/>
          </a:xfrm>
        </p:spPr>
        <p:txBody>
          <a:bodyPr/>
          <a:lstStyle>
            <a:lvl1pPr marL="0" indent="0" rtl="0">
              <a:buNone/>
              <a:defRPr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o insert photo overlay, refer to instructions at end of deck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153E66-E64F-451C-8EF2-E885B85DB1B7}"/>
              </a:ext>
            </a:extLst>
          </p:cNvPr>
          <p:cNvSpPr/>
          <p:nvPr userDrawn="1"/>
        </p:nvSpPr>
        <p:spPr>
          <a:xfrm>
            <a:off x="11562530" y="6359076"/>
            <a:ext cx="629470" cy="498924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D7FF7513-3623-4F78-91E2-5BDF379B95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43978" y="6529864"/>
            <a:ext cx="28003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 rtl="0">
              <a:defRPr sz="1000">
                <a:solidFill>
                  <a:schemeClr val="bg1"/>
                </a:solidFill>
                <a:latin typeface="Lato" panose="020F0502020204030203" pitchFamily="34" charset="0"/>
                <a:cs typeface="Arial" pitchFamily="34" charset="0"/>
              </a:defRPr>
            </a:lvl1pPr>
          </a:lstStyle>
          <a:p>
            <a:fld id="{A90607E6-BCED-4FC1-A345-AB2A307AB80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D678E88-E1DA-454A-98F4-E3020500FF3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0621" y="6511926"/>
            <a:ext cx="869730" cy="215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4205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690456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943689" y="292016"/>
            <a:ext cx="10621127" cy="400110"/>
          </a:xfrm>
        </p:spPr>
        <p:txBody>
          <a:bodyPr vert="horz" wrap="square">
            <a:spAutoFit/>
          </a:bodyPr>
          <a:lstStyle>
            <a:lvl1pPr rtl="0">
              <a:defRPr sz="2600" baseline="0">
                <a:solidFill>
                  <a:srgbClr val="881946"/>
                </a:solidFill>
                <a:latin typeface="+mj-lt"/>
              </a:defRPr>
            </a:lvl1pPr>
          </a:lstStyle>
          <a:p>
            <a:r>
              <a:rPr lang="en-GB"/>
              <a:t>Table of Contents</a:t>
            </a:r>
          </a:p>
        </p:txBody>
      </p:sp>
      <p:sp>
        <p:nvSpPr>
          <p:cNvPr id="19" name="Rectangle 18"/>
          <p:cNvSpPr>
            <a:spLocks/>
          </p:cNvSpPr>
          <p:nvPr userDrawn="1"/>
        </p:nvSpPr>
        <p:spPr>
          <a:xfrm>
            <a:off x="1" y="0"/>
            <a:ext cx="629470" cy="984142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515983" y="1257300"/>
            <a:ext cx="10035116" cy="4914900"/>
          </a:xfrm>
        </p:spPr>
        <p:txBody>
          <a:bodyPr wrap="square" anchor="t">
            <a:noAutofit/>
          </a:bodyPr>
          <a:lstStyle>
            <a:lvl1pPr marL="0" indent="0" rtl="0">
              <a:spcAft>
                <a:spcPts val="0"/>
              </a:spcAft>
              <a:buNone/>
              <a:defRPr sz="1800" baseline="0">
                <a:solidFill>
                  <a:srgbClr val="60606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ype your text here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947616" y="1257300"/>
            <a:ext cx="331451" cy="184666"/>
          </a:xfrm>
        </p:spPr>
        <p:txBody>
          <a:bodyPr wrap="square" anchor="t">
            <a:spAutoFit/>
          </a:bodyPr>
          <a:lstStyle>
            <a:lvl1pPr marL="0" indent="0" algn="l" rtl="0">
              <a:spcAft>
                <a:spcPts val="1200"/>
              </a:spcAft>
              <a:buNone/>
              <a:defRPr sz="1200" b="1">
                <a:solidFill>
                  <a:srgbClr val="606060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#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9F072BED-A9DE-4738-8E27-BB509D597E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276" y="399738"/>
            <a:ext cx="468922" cy="184666"/>
          </a:xfrm>
        </p:spPr>
        <p:txBody>
          <a:bodyPr wrap="square" anchor="ctr">
            <a:spAutoFit/>
          </a:bodyPr>
          <a:lstStyle>
            <a:lvl1pPr marL="0" indent="0" algn="ctr" rtl="0">
              <a:spcAft>
                <a:spcPts val="1200"/>
              </a:spcAft>
              <a:buNone/>
              <a:defRPr sz="12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511DFB7-2BCC-4899-BCB2-BB8B5E0CC9E9}"/>
              </a:ext>
            </a:extLst>
          </p:cNvPr>
          <p:cNvSpPr/>
          <p:nvPr userDrawn="1"/>
        </p:nvSpPr>
        <p:spPr>
          <a:xfrm>
            <a:off x="11562530" y="6359076"/>
            <a:ext cx="629470" cy="498924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F8A62DB9-3BD4-48CA-AA11-335728587B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43978" y="6529864"/>
            <a:ext cx="28003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 rtl="0">
              <a:defRPr sz="1000">
                <a:solidFill>
                  <a:schemeClr val="bg1"/>
                </a:solidFill>
                <a:latin typeface="Lato" panose="020F0502020204030203" pitchFamily="34" charset="0"/>
                <a:cs typeface="Arial" pitchFamily="34" charset="0"/>
              </a:defRPr>
            </a:lvl1pPr>
          </a:lstStyle>
          <a:p>
            <a:fld id="{A90607E6-BCED-4FC1-A345-AB2A307AB80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BF6899B-DA00-48DC-82A5-9565ECA57C2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0621" y="6511926"/>
            <a:ext cx="869730" cy="215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1829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9908120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>
            <a:spLocks/>
          </p:cNvSpPr>
          <p:nvPr userDrawn="1"/>
        </p:nvSpPr>
        <p:spPr>
          <a:xfrm>
            <a:off x="0" y="4234"/>
            <a:ext cx="12192000" cy="6858000"/>
          </a:xfrm>
          <a:prstGeom prst="rect">
            <a:avLst/>
          </a:prstGeom>
          <a:solidFill>
            <a:srgbClr val="0889A8">
              <a:alpha val="89804"/>
            </a:srgb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813539" y="4341052"/>
            <a:ext cx="6564923" cy="215444"/>
          </a:xfrm>
        </p:spPr>
        <p:txBody>
          <a:bodyPr wrap="square" anchor="t">
            <a:spAutoFit/>
          </a:bodyPr>
          <a:lstStyle>
            <a:lvl1pPr marL="0" indent="0" algn="ctr" rtl="0">
              <a:spcAft>
                <a:spcPts val="0"/>
              </a:spcAft>
              <a:buNone/>
              <a:defRPr sz="1400" cap="all" spc="30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 baseline="0"/>
            </a:lvl6pPr>
            <a:lvl7pPr>
              <a:defRPr baseline="0"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Section on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312985" y="2233493"/>
            <a:ext cx="9566031" cy="1477328"/>
          </a:xfrm>
        </p:spPr>
        <p:txBody>
          <a:bodyPr wrap="square" anchor="b">
            <a:spAutoFit/>
          </a:bodyPr>
          <a:lstStyle>
            <a:lvl1pPr marL="0" indent="0" algn="ctr" rtl="0">
              <a:buNone/>
              <a:defRPr sz="4800" baseline="0">
                <a:solidFill>
                  <a:schemeClr val="bg1"/>
                </a:solidFill>
                <a:latin typeface="Lato Light" panose="020F030202020403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 baseline="0"/>
            </a:lvl6pPr>
            <a:lvl7pPr>
              <a:defRPr baseline="0"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Section Title in </a:t>
            </a:r>
            <a:r>
              <a:rPr lang="en-GB" err="1"/>
              <a:t>Lato</a:t>
            </a:r>
            <a:r>
              <a:rPr lang="en-GB"/>
              <a:t> Light</a:t>
            </a:r>
            <a:br>
              <a:rPr lang="en-GB"/>
            </a:br>
            <a:r>
              <a:rPr lang="en-GB"/>
              <a:t>48 point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21426C6-421F-C843-8E75-758EBA0C6474}"/>
              </a:ext>
            </a:extLst>
          </p:cNvPr>
          <p:cNvGrpSpPr/>
          <p:nvPr userDrawn="1"/>
        </p:nvGrpSpPr>
        <p:grpSpPr>
          <a:xfrm>
            <a:off x="856261" y="907814"/>
            <a:ext cx="10479479" cy="5042373"/>
            <a:chOff x="733144" y="917932"/>
            <a:chExt cx="8514577" cy="5042373"/>
          </a:xfrm>
        </p:grpSpPr>
        <p:sp>
          <p:nvSpPr>
            <p:cNvPr id="19" name="Rectangle 2">
              <a:extLst>
                <a:ext uri="{FF2B5EF4-FFF2-40B4-BE49-F238E27FC236}">
                  <a16:creationId xmlns:a16="http://schemas.microsoft.com/office/drawing/2014/main" id="{D47781E6-69B4-2C41-BC0D-98606BC3A88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73401" y="917932"/>
              <a:ext cx="274320" cy="126755"/>
            </a:xfrm>
            <a:custGeom>
              <a:avLst/>
              <a:gdLst/>
              <a:ahLst/>
              <a:cxnLst/>
              <a:rect l="l" t="t" r="r" b="b"/>
              <a:pathLst>
                <a:path w="386508" h="178593">
                  <a:moveTo>
                    <a:pt x="45719" y="0"/>
                  </a:moveTo>
                  <a:lnTo>
                    <a:pt x="302892" y="0"/>
                  </a:lnTo>
                  <a:lnTo>
                    <a:pt x="374603" y="0"/>
                  </a:lnTo>
                  <a:lnTo>
                    <a:pt x="386508" y="0"/>
                  </a:lnTo>
                  <a:lnTo>
                    <a:pt x="386508" y="178593"/>
                  </a:lnTo>
                  <a:lnTo>
                    <a:pt x="386507" y="178593"/>
                  </a:lnTo>
                  <a:lnTo>
                    <a:pt x="324234" y="178593"/>
                  </a:lnTo>
                  <a:lnTo>
                    <a:pt x="302892" y="178593"/>
                  </a:lnTo>
                  <a:lnTo>
                    <a:pt x="302892" y="85725"/>
                  </a:lnTo>
                  <a:lnTo>
                    <a:pt x="45719" y="857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rgbClr val="881946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indent="-174625" rtl="0"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2" name="Rectangle 2">
              <a:extLst>
                <a:ext uri="{FF2B5EF4-FFF2-40B4-BE49-F238E27FC236}">
                  <a16:creationId xmlns:a16="http://schemas.microsoft.com/office/drawing/2014/main" id="{BFA531CA-85C6-124A-8B0F-C1CA2A76032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733144" y="5833550"/>
              <a:ext cx="274320" cy="126755"/>
            </a:xfrm>
            <a:custGeom>
              <a:avLst/>
              <a:gdLst/>
              <a:ahLst/>
              <a:cxnLst/>
              <a:rect l="l" t="t" r="r" b="b"/>
              <a:pathLst>
                <a:path w="386508" h="178593">
                  <a:moveTo>
                    <a:pt x="45719" y="0"/>
                  </a:moveTo>
                  <a:lnTo>
                    <a:pt x="302892" y="0"/>
                  </a:lnTo>
                  <a:lnTo>
                    <a:pt x="374603" y="0"/>
                  </a:lnTo>
                  <a:lnTo>
                    <a:pt x="386508" y="0"/>
                  </a:lnTo>
                  <a:lnTo>
                    <a:pt x="386508" y="178593"/>
                  </a:lnTo>
                  <a:lnTo>
                    <a:pt x="386507" y="178593"/>
                  </a:lnTo>
                  <a:lnTo>
                    <a:pt x="324234" y="178593"/>
                  </a:lnTo>
                  <a:lnTo>
                    <a:pt x="302892" y="178593"/>
                  </a:lnTo>
                  <a:lnTo>
                    <a:pt x="302892" y="85725"/>
                  </a:lnTo>
                  <a:lnTo>
                    <a:pt x="45719" y="857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rgbClr val="881946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indent="-174625" rtl="0"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</p:grp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EC768F3-3568-4B9F-8B44-C8326C163CB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06977" y="781190"/>
            <a:ext cx="2571262" cy="1254125"/>
          </a:xfrm>
        </p:spPr>
        <p:txBody>
          <a:bodyPr/>
          <a:lstStyle>
            <a:lvl1pPr marL="0" indent="0" rtl="0">
              <a:buNone/>
              <a:defRPr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o insert photo overlay, refer to instructions at end of deck</a:t>
            </a:r>
          </a:p>
        </p:txBody>
      </p:sp>
    </p:spTree>
    <p:extLst>
      <p:ext uri="{BB962C8B-B14F-4D97-AF65-F5344CB8AC3E}">
        <p14:creationId xmlns:p14="http://schemas.microsoft.com/office/powerpoint/2010/main" val="17793428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dier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6063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>
            <a:spLocks/>
          </p:cNvSpPr>
          <p:nvPr userDrawn="1"/>
        </p:nvSpPr>
        <p:spPr>
          <a:xfrm>
            <a:off x="4234" y="4234"/>
            <a:ext cx="12192000" cy="6858000"/>
          </a:xfrm>
          <a:prstGeom prst="rect">
            <a:avLst/>
          </a:prstGeom>
          <a:solidFill>
            <a:srgbClr val="918A87">
              <a:alpha val="94902"/>
            </a:srgb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813539" y="4341052"/>
            <a:ext cx="6564923" cy="215444"/>
          </a:xfrm>
        </p:spPr>
        <p:txBody>
          <a:bodyPr wrap="square" anchor="t">
            <a:spAutoFit/>
          </a:bodyPr>
          <a:lstStyle>
            <a:lvl1pPr marL="0" indent="0" algn="ctr" rtl="0">
              <a:spcAft>
                <a:spcPts val="0"/>
              </a:spcAft>
              <a:buNone/>
              <a:defRPr sz="1400" cap="all" spc="30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 baseline="0"/>
            </a:lvl6pPr>
            <a:lvl7pPr>
              <a:defRPr baseline="0"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Section on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312985" y="2233493"/>
            <a:ext cx="9566031" cy="1477328"/>
          </a:xfrm>
        </p:spPr>
        <p:txBody>
          <a:bodyPr wrap="square" anchor="b">
            <a:spAutoFit/>
          </a:bodyPr>
          <a:lstStyle>
            <a:lvl1pPr marL="0" indent="0" algn="ctr" rtl="0">
              <a:buNone/>
              <a:defRPr sz="4800" baseline="0">
                <a:solidFill>
                  <a:schemeClr val="bg1"/>
                </a:solidFill>
                <a:latin typeface="Lato Light" panose="020F030202020403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 baseline="0"/>
            </a:lvl6pPr>
            <a:lvl7pPr>
              <a:defRPr baseline="0"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Section Title in </a:t>
            </a:r>
            <a:r>
              <a:rPr lang="en-GB" err="1"/>
              <a:t>Lato</a:t>
            </a:r>
            <a:r>
              <a:rPr lang="en-GB"/>
              <a:t> Light</a:t>
            </a:r>
            <a:br>
              <a:rPr lang="en-GB"/>
            </a:br>
            <a:r>
              <a:rPr lang="en-GB"/>
              <a:t>48 point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DA90289-75DA-D34C-A5F3-4AB2FE5B0CA2}"/>
              </a:ext>
            </a:extLst>
          </p:cNvPr>
          <p:cNvGrpSpPr/>
          <p:nvPr userDrawn="1"/>
        </p:nvGrpSpPr>
        <p:grpSpPr>
          <a:xfrm>
            <a:off x="856261" y="907814"/>
            <a:ext cx="10479479" cy="5042373"/>
            <a:chOff x="733144" y="917932"/>
            <a:chExt cx="8514577" cy="5042373"/>
          </a:xfrm>
        </p:grpSpPr>
        <p:sp>
          <p:nvSpPr>
            <p:cNvPr id="16" name="Rectangle 2">
              <a:extLst>
                <a:ext uri="{FF2B5EF4-FFF2-40B4-BE49-F238E27FC236}">
                  <a16:creationId xmlns:a16="http://schemas.microsoft.com/office/drawing/2014/main" id="{F8CC1092-8D82-EE45-9F5C-5BB2579B4F1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73401" y="917932"/>
              <a:ext cx="274320" cy="126755"/>
            </a:xfrm>
            <a:custGeom>
              <a:avLst/>
              <a:gdLst/>
              <a:ahLst/>
              <a:cxnLst/>
              <a:rect l="l" t="t" r="r" b="b"/>
              <a:pathLst>
                <a:path w="386508" h="178593">
                  <a:moveTo>
                    <a:pt x="45719" y="0"/>
                  </a:moveTo>
                  <a:lnTo>
                    <a:pt x="302892" y="0"/>
                  </a:lnTo>
                  <a:lnTo>
                    <a:pt x="374603" y="0"/>
                  </a:lnTo>
                  <a:lnTo>
                    <a:pt x="386508" y="0"/>
                  </a:lnTo>
                  <a:lnTo>
                    <a:pt x="386508" y="178593"/>
                  </a:lnTo>
                  <a:lnTo>
                    <a:pt x="386507" y="178593"/>
                  </a:lnTo>
                  <a:lnTo>
                    <a:pt x="324234" y="178593"/>
                  </a:lnTo>
                  <a:lnTo>
                    <a:pt x="302892" y="178593"/>
                  </a:lnTo>
                  <a:lnTo>
                    <a:pt x="302892" y="85725"/>
                  </a:lnTo>
                  <a:lnTo>
                    <a:pt x="45719" y="857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rgbClr val="881946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indent="-174625" rtl="0"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7" name="Rectangle 2">
              <a:extLst>
                <a:ext uri="{FF2B5EF4-FFF2-40B4-BE49-F238E27FC236}">
                  <a16:creationId xmlns:a16="http://schemas.microsoft.com/office/drawing/2014/main" id="{41C96F2A-94C8-7441-BDC9-094ADEEF4D68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733144" y="5833550"/>
              <a:ext cx="274320" cy="126755"/>
            </a:xfrm>
            <a:custGeom>
              <a:avLst/>
              <a:gdLst/>
              <a:ahLst/>
              <a:cxnLst/>
              <a:rect l="l" t="t" r="r" b="b"/>
              <a:pathLst>
                <a:path w="386508" h="178593">
                  <a:moveTo>
                    <a:pt x="45719" y="0"/>
                  </a:moveTo>
                  <a:lnTo>
                    <a:pt x="302892" y="0"/>
                  </a:lnTo>
                  <a:lnTo>
                    <a:pt x="374603" y="0"/>
                  </a:lnTo>
                  <a:lnTo>
                    <a:pt x="386508" y="0"/>
                  </a:lnTo>
                  <a:lnTo>
                    <a:pt x="386508" y="178593"/>
                  </a:lnTo>
                  <a:lnTo>
                    <a:pt x="386507" y="178593"/>
                  </a:lnTo>
                  <a:lnTo>
                    <a:pt x="324234" y="178593"/>
                  </a:lnTo>
                  <a:lnTo>
                    <a:pt x="302892" y="178593"/>
                  </a:lnTo>
                  <a:lnTo>
                    <a:pt x="302892" y="85725"/>
                  </a:lnTo>
                  <a:lnTo>
                    <a:pt x="45719" y="857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rgbClr val="881946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indent="-174625" rtl="0"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</p:grp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C8DE380-76CE-467C-8845-2814EEC882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06977" y="781190"/>
            <a:ext cx="2571262" cy="1254125"/>
          </a:xfrm>
        </p:spPr>
        <p:txBody>
          <a:bodyPr/>
          <a:lstStyle>
            <a:lvl1pPr marL="0" indent="0" rtl="0">
              <a:buNone/>
              <a:defRPr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o insert photo overlay, refer to instructions at end of deck</a:t>
            </a:r>
          </a:p>
        </p:txBody>
      </p:sp>
    </p:spTree>
    <p:extLst>
      <p:ext uri="{BB962C8B-B14F-4D97-AF65-F5344CB8AC3E}">
        <p14:creationId xmlns:p14="http://schemas.microsoft.com/office/powerpoint/2010/main" val="37569692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der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8304664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>
            <a:spLocks/>
          </p:cNvSpPr>
          <p:nvPr userDrawn="1"/>
        </p:nvSpPr>
        <p:spPr>
          <a:xfrm>
            <a:off x="4234" y="4234"/>
            <a:ext cx="12192000" cy="6858000"/>
          </a:xfrm>
          <a:prstGeom prst="rect">
            <a:avLst/>
          </a:prstGeom>
          <a:solidFill>
            <a:srgbClr val="F3B11C">
              <a:alpha val="89804"/>
            </a:srgb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813539" y="4341052"/>
            <a:ext cx="6564923" cy="215444"/>
          </a:xfrm>
        </p:spPr>
        <p:txBody>
          <a:bodyPr wrap="square" anchor="t">
            <a:spAutoFit/>
          </a:bodyPr>
          <a:lstStyle>
            <a:lvl1pPr marL="0" indent="0" algn="ctr" rtl="0">
              <a:spcAft>
                <a:spcPts val="0"/>
              </a:spcAft>
              <a:buNone/>
              <a:defRPr sz="1400" cap="all" spc="30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 baseline="0"/>
            </a:lvl6pPr>
            <a:lvl7pPr>
              <a:defRPr baseline="0"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Section on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312985" y="2233493"/>
            <a:ext cx="9566031" cy="1477328"/>
          </a:xfrm>
        </p:spPr>
        <p:txBody>
          <a:bodyPr wrap="square" anchor="b">
            <a:spAutoFit/>
          </a:bodyPr>
          <a:lstStyle>
            <a:lvl1pPr marL="0" indent="0" algn="ctr" rtl="0">
              <a:buNone/>
              <a:defRPr sz="4800" baseline="0">
                <a:solidFill>
                  <a:schemeClr val="bg1"/>
                </a:solidFill>
                <a:latin typeface="Lato Light" panose="020F030202020403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 baseline="0"/>
            </a:lvl6pPr>
            <a:lvl7pPr>
              <a:defRPr baseline="0"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Section Title in </a:t>
            </a:r>
            <a:r>
              <a:rPr lang="en-GB" err="1"/>
              <a:t>Lato</a:t>
            </a:r>
            <a:r>
              <a:rPr lang="en-GB"/>
              <a:t> Light</a:t>
            </a:r>
            <a:br>
              <a:rPr lang="en-GB"/>
            </a:br>
            <a:r>
              <a:rPr lang="en-GB"/>
              <a:t>48 point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21426C6-421F-C843-8E75-758EBA0C6474}"/>
              </a:ext>
            </a:extLst>
          </p:cNvPr>
          <p:cNvGrpSpPr/>
          <p:nvPr userDrawn="1"/>
        </p:nvGrpSpPr>
        <p:grpSpPr>
          <a:xfrm>
            <a:off x="856261" y="907814"/>
            <a:ext cx="10479479" cy="5042373"/>
            <a:chOff x="733144" y="917932"/>
            <a:chExt cx="8514577" cy="5042373"/>
          </a:xfrm>
        </p:grpSpPr>
        <p:sp>
          <p:nvSpPr>
            <p:cNvPr id="19" name="Rectangle 2">
              <a:extLst>
                <a:ext uri="{FF2B5EF4-FFF2-40B4-BE49-F238E27FC236}">
                  <a16:creationId xmlns:a16="http://schemas.microsoft.com/office/drawing/2014/main" id="{D47781E6-69B4-2C41-BC0D-98606BC3A88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73401" y="917932"/>
              <a:ext cx="274320" cy="126755"/>
            </a:xfrm>
            <a:custGeom>
              <a:avLst/>
              <a:gdLst/>
              <a:ahLst/>
              <a:cxnLst/>
              <a:rect l="l" t="t" r="r" b="b"/>
              <a:pathLst>
                <a:path w="386508" h="178593">
                  <a:moveTo>
                    <a:pt x="45719" y="0"/>
                  </a:moveTo>
                  <a:lnTo>
                    <a:pt x="302892" y="0"/>
                  </a:lnTo>
                  <a:lnTo>
                    <a:pt x="374603" y="0"/>
                  </a:lnTo>
                  <a:lnTo>
                    <a:pt x="386508" y="0"/>
                  </a:lnTo>
                  <a:lnTo>
                    <a:pt x="386508" y="178593"/>
                  </a:lnTo>
                  <a:lnTo>
                    <a:pt x="386507" y="178593"/>
                  </a:lnTo>
                  <a:lnTo>
                    <a:pt x="324234" y="178593"/>
                  </a:lnTo>
                  <a:lnTo>
                    <a:pt x="302892" y="178593"/>
                  </a:lnTo>
                  <a:lnTo>
                    <a:pt x="302892" y="85725"/>
                  </a:lnTo>
                  <a:lnTo>
                    <a:pt x="45719" y="857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rgbClr val="881946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indent="-174625" rtl="0"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2" name="Rectangle 2">
              <a:extLst>
                <a:ext uri="{FF2B5EF4-FFF2-40B4-BE49-F238E27FC236}">
                  <a16:creationId xmlns:a16="http://schemas.microsoft.com/office/drawing/2014/main" id="{BFA531CA-85C6-124A-8B0F-C1CA2A76032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733144" y="5833550"/>
              <a:ext cx="274320" cy="126755"/>
            </a:xfrm>
            <a:custGeom>
              <a:avLst/>
              <a:gdLst/>
              <a:ahLst/>
              <a:cxnLst/>
              <a:rect l="l" t="t" r="r" b="b"/>
              <a:pathLst>
                <a:path w="386508" h="178593">
                  <a:moveTo>
                    <a:pt x="45719" y="0"/>
                  </a:moveTo>
                  <a:lnTo>
                    <a:pt x="302892" y="0"/>
                  </a:lnTo>
                  <a:lnTo>
                    <a:pt x="374603" y="0"/>
                  </a:lnTo>
                  <a:lnTo>
                    <a:pt x="386508" y="0"/>
                  </a:lnTo>
                  <a:lnTo>
                    <a:pt x="386508" y="178593"/>
                  </a:lnTo>
                  <a:lnTo>
                    <a:pt x="386507" y="178593"/>
                  </a:lnTo>
                  <a:lnTo>
                    <a:pt x="324234" y="178593"/>
                  </a:lnTo>
                  <a:lnTo>
                    <a:pt x="302892" y="178593"/>
                  </a:lnTo>
                  <a:lnTo>
                    <a:pt x="302892" y="85725"/>
                  </a:lnTo>
                  <a:lnTo>
                    <a:pt x="45719" y="857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rgbClr val="881946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indent="-174625" rtl="0"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</p:grp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EA2AF1E-3375-441F-A2B3-10BBF1E1CF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06977" y="781190"/>
            <a:ext cx="2571262" cy="1254125"/>
          </a:xfrm>
        </p:spPr>
        <p:txBody>
          <a:bodyPr/>
          <a:lstStyle>
            <a:lvl1pPr marL="0" indent="0" rtl="0">
              <a:buNone/>
              <a:defRPr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o insert photo overlay, refer to instructions at end of deck</a:t>
            </a:r>
          </a:p>
        </p:txBody>
      </p:sp>
    </p:spTree>
    <p:extLst>
      <p:ext uri="{BB962C8B-B14F-4D97-AF65-F5344CB8AC3E}">
        <p14:creationId xmlns:p14="http://schemas.microsoft.com/office/powerpoint/2010/main" val="4044258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_business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C4A3343-C30F-1C45-9610-402B1F360A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DEE1AA8C-E15D-A44A-9406-A5219CE72065}"/>
              </a:ext>
            </a:extLst>
          </p:cNvPr>
          <p:cNvSpPr/>
          <p:nvPr userDrawn="1"/>
        </p:nvSpPr>
        <p:spPr>
          <a:xfrm>
            <a:off x="4" y="4778"/>
            <a:ext cx="12192000" cy="6858000"/>
          </a:xfrm>
          <a:prstGeom prst="rect">
            <a:avLst/>
          </a:prstGeom>
          <a:solidFill>
            <a:srgbClr val="0889A8">
              <a:alpha val="94902"/>
            </a:srgb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7439188"/>
              </p:ext>
            </p:extLst>
          </p:nvPr>
        </p:nvGraphicFramePr>
        <p:xfrm>
          <a:off x="4" y="3"/>
          <a:ext cx="211668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83" imgH="385" progId="TCLayout.ActiveDocument.1">
                  <p:embed/>
                </p:oleObj>
              </mc:Choice>
              <mc:Fallback>
                <p:oleObj name="Diapositive think-cell" r:id="rId4" imgW="383" imgH="38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" y="3"/>
                        <a:ext cx="211668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>
            <a:extLst>
              <a:ext uri="{FF2B5EF4-FFF2-40B4-BE49-F238E27FC236}">
                <a16:creationId xmlns:a16="http://schemas.microsoft.com/office/drawing/2014/main" id="{0FEF2971-18CA-A447-B977-0E8BA063D8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481899" y="3993160"/>
            <a:ext cx="6564923" cy="215444"/>
          </a:xfrm>
        </p:spPr>
        <p:txBody>
          <a:bodyPr wrap="square" lIns="0" tIns="0" rIns="0" bIns="0" anchor="t">
            <a:spAutoFit/>
          </a:bodyPr>
          <a:lstStyle>
            <a:lvl1pPr marL="0" indent="0" algn="l" rtl="0">
              <a:spcAft>
                <a:spcPts val="0"/>
              </a:spcAft>
              <a:buNone/>
              <a:defRPr sz="1400" b="0" cap="all" spc="30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36433" indent="0" algn="ctr">
              <a:buNone/>
              <a:defRPr sz="2300"/>
            </a:lvl2pPr>
            <a:lvl3pPr marL="1072866" indent="0" algn="ctr">
              <a:buNone/>
              <a:defRPr sz="2100"/>
            </a:lvl3pPr>
            <a:lvl4pPr marL="1609298" indent="0" algn="ctr">
              <a:buNone/>
              <a:defRPr sz="1900"/>
            </a:lvl4pPr>
            <a:lvl5pPr marL="2145731" indent="0" algn="ctr">
              <a:buNone/>
              <a:defRPr sz="1900"/>
            </a:lvl5pPr>
            <a:lvl6pPr marL="2682164" indent="0" algn="ctr">
              <a:buNone/>
              <a:defRPr sz="1900"/>
            </a:lvl6pPr>
            <a:lvl7pPr marL="3218597" indent="0" algn="ctr">
              <a:buNone/>
              <a:defRPr sz="1900"/>
            </a:lvl7pPr>
            <a:lvl8pPr marL="3755029" indent="0" algn="ctr">
              <a:buNone/>
              <a:defRPr sz="1900"/>
            </a:lvl8pPr>
            <a:lvl9pPr marL="4291462" indent="0" algn="ctr">
              <a:buNone/>
              <a:defRPr sz="1900"/>
            </a:lvl9pPr>
          </a:lstStyle>
          <a:p>
            <a:r>
              <a:rPr lang="en-GB"/>
              <a:t>Sub-title and dat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21B53F68-7CEB-4F4B-A468-2B1D397F0E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81900" y="2757412"/>
            <a:ext cx="8082916" cy="646331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buFont typeface="Arial" panose="020B0604020202020204" pitchFamily="34" charset="0"/>
              <a:buNone/>
              <a:defRPr sz="4200" b="0" baseline="0">
                <a:solidFill>
                  <a:schemeClr val="bg1"/>
                </a:solidFill>
                <a:latin typeface="Lato Light" panose="020F0302020204030203" pitchFamily="34" charset="0"/>
              </a:defRPr>
            </a:lvl1pPr>
          </a:lstStyle>
          <a:p>
            <a:pPr lvl="0"/>
            <a:r>
              <a:rPr lang="en-GB"/>
              <a:t>Title is </a:t>
            </a:r>
            <a:r>
              <a:rPr lang="en-GB" err="1"/>
              <a:t>Lato</a:t>
            </a:r>
            <a:r>
              <a:rPr lang="en-GB"/>
              <a:t> Light 42 point</a:t>
            </a:r>
          </a:p>
        </p:txBody>
      </p:sp>
      <p:cxnSp>
        <p:nvCxnSpPr>
          <p:cNvPr id="24" name="Line">
            <a:extLst>
              <a:ext uri="{FF2B5EF4-FFF2-40B4-BE49-F238E27FC236}">
                <a16:creationId xmlns:a16="http://schemas.microsoft.com/office/drawing/2014/main" id="{E277333D-8D22-DE4D-BED7-4452956ECF14}"/>
              </a:ext>
            </a:extLst>
          </p:cNvPr>
          <p:cNvCxnSpPr>
            <a:cxnSpLocks/>
          </p:cNvCxnSpPr>
          <p:nvPr userDrawn="1"/>
        </p:nvCxnSpPr>
        <p:spPr>
          <a:xfrm>
            <a:off x="3481899" y="3709468"/>
            <a:ext cx="562708" cy="0"/>
          </a:xfrm>
          <a:prstGeom prst="line">
            <a:avLst/>
          </a:prstGeom>
          <a:ln w="28575">
            <a:solidFill>
              <a:srgbClr val="881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36EC3E5E-8C80-C44A-AD67-64D64758C168}"/>
              </a:ext>
            </a:extLst>
          </p:cNvPr>
          <p:cNvSpPr/>
          <p:nvPr userDrawn="1"/>
        </p:nvSpPr>
        <p:spPr>
          <a:xfrm>
            <a:off x="0" y="1695088"/>
            <a:ext cx="2250831" cy="3474237"/>
          </a:xfrm>
          <a:prstGeom prst="rect">
            <a:avLst/>
          </a:prstGeom>
          <a:solidFill>
            <a:srgbClr val="881946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4625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600" kern="1200">
              <a:solidFill>
                <a:schemeClr val="tx1"/>
              </a:solidFill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04F3BB-CA59-482F-9567-9A7D1E9079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24160" y="857374"/>
            <a:ext cx="5173361" cy="1414463"/>
          </a:xfrm>
        </p:spPr>
        <p:txBody>
          <a:bodyPr/>
          <a:lstStyle>
            <a:lvl1pPr marL="0" indent="0" rtl="0">
              <a:buNone/>
              <a:defRPr i="1">
                <a:solidFill>
                  <a:schemeClr val="bg1"/>
                </a:solidFill>
                <a:sym typeface="Wingdings" panose="05000000000000000000" pitchFamily="2" charset="2"/>
              </a:defRPr>
            </a:lvl1pPr>
          </a:lstStyle>
          <a:p>
            <a:pPr lvl="0"/>
            <a:r>
              <a:rPr lang="en-GB"/>
              <a:t>If a business-specific template is desired, delete any businesses not needed in the Master View (View  Master View) and ensure each business is directly below the other</a:t>
            </a:r>
          </a:p>
        </p:txBody>
      </p:sp>
      <p:pic>
        <p:nvPicPr>
          <p:cNvPr id="18" name="Picture 17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0518F7DB-8672-4883-AAC2-04BB3D1E1E6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232" y="3121216"/>
            <a:ext cx="1621639" cy="45720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F4DF2BC-D4A0-4502-92E3-A24C4E640F7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175" y="3368103"/>
            <a:ext cx="1688270" cy="43285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4FF968C-B580-4DAB-BC88-286381C549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487" y="3584512"/>
            <a:ext cx="1080492" cy="432854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533233D-FF65-4158-B09F-80FAB624736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672" y="3796034"/>
            <a:ext cx="1718283" cy="43285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9F8A69F-F0D8-4431-B020-CEC70DFDC9B3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525" y="4014116"/>
            <a:ext cx="1133017" cy="42675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4F51E614-D128-43BB-B85B-E8E6874AB62C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796" y="4233666"/>
            <a:ext cx="1868352" cy="432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409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2298">
          <p15:clr>
            <a:srgbClr val="FBAE40"/>
          </p15:clr>
        </p15:guide>
        <p15:guide id="4" orient="horz" pos="2432">
          <p15:clr>
            <a:srgbClr val="FBAE40"/>
          </p15:clr>
        </p15:guide>
        <p15:guide id="5" orient="horz" pos="2568">
          <p15:clr>
            <a:srgbClr val="FBAE40"/>
          </p15:clr>
        </p15:guide>
        <p15:guide id="6" orient="horz" pos="2702">
          <p15:clr>
            <a:srgbClr val="FBAE40"/>
          </p15:clr>
        </p15:guide>
        <p15:guide id="7" orient="horz" pos="2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blue_client 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17423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>
            <a:spLocks/>
          </p:cNvSpPr>
          <p:nvPr userDrawn="1"/>
        </p:nvSpPr>
        <p:spPr>
          <a:xfrm>
            <a:off x="4234" y="0"/>
            <a:ext cx="12192000" cy="6858000"/>
          </a:xfrm>
          <a:prstGeom prst="rect">
            <a:avLst/>
          </a:prstGeom>
          <a:solidFill>
            <a:srgbClr val="0889A8">
              <a:alpha val="89804"/>
            </a:srgb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813539" y="4130038"/>
            <a:ext cx="6564923" cy="215444"/>
          </a:xfrm>
        </p:spPr>
        <p:txBody>
          <a:bodyPr wrap="square" anchor="t">
            <a:spAutoFit/>
          </a:bodyPr>
          <a:lstStyle>
            <a:lvl1pPr marL="0" indent="0" algn="ctr" rtl="0">
              <a:spcAft>
                <a:spcPts val="0"/>
              </a:spcAft>
              <a:buNone/>
              <a:defRPr sz="1400" cap="all" spc="30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 baseline="0"/>
            </a:lvl6pPr>
            <a:lvl7pPr>
              <a:defRPr baseline="0"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Section on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312985" y="2022479"/>
            <a:ext cx="9566031" cy="1477328"/>
          </a:xfrm>
        </p:spPr>
        <p:txBody>
          <a:bodyPr wrap="square" anchor="b">
            <a:spAutoFit/>
          </a:bodyPr>
          <a:lstStyle>
            <a:lvl1pPr marL="0" indent="0" algn="ctr" rtl="0">
              <a:buNone/>
              <a:defRPr sz="4800" baseline="0">
                <a:solidFill>
                  <a:schemeClr val="bg1"/>
                </a:solidFill>
                <a:latin typeface="Lato Light" panose="020F030202020403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 baseline="0"/>
            </a:lvl6pPr>
            <a:lvl7pPr>
              <a:defRPr baseline="0"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Section Title in </a:t>
            </a:r>
            <a:r>
              <a:rPr lang="en-GB" err="1"/>
              <a:t>Lato</a:t>
            </a:r>
            <a:r>
              <a:rPr lang="en-GB"/>
              <a:t> Light</a:t>
            </a:r>
            <a:br>
              <a:rPr lang="en-GB"/>
            </a:br>
            <a:r>
              <a:rPr lang="en-GB"/>
              <a:t>48 point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21426C6-421F-C843-8E75-758EBA0C6474}"/>
              </a:ext>
            </a:extLst>
          </p:cNvPr>
          <p:cNvGrpSpPr/>
          <p:nvPr userDrawn="1"/>
        </p:nvGrpSpPr>
        <p:grpSpPr>
          <a:xfrm>
            <a:off x="856261" y="907813"/>
            <a:ext cx="10479479" cy="4421054"/>
            <a:chOff x="733144" y="917932"/>
            <a:chExt cx="8514577" cy="4421054"/>
          </a:xfrm>
        </p:grpSpPr>
        <p:sp>
          <p:nvSpPr>
            <p:cNvPr id="19" name="Rectangle 2">
              <a:extLst>
                <a:ext uri="{FF2B5EF4-FFF2-40B4-BE49-F238E27FC236}">
                  <a16:creationId xmlns:a16="http://schemas.microsoft.com/office/drawing/2014/main" id="{D47781E6-69B4-2C41-BC0D-98606BC3A88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73401" y="917932"/>
              <a:ext cx="274320" cy="126755"/>
            </a:xfrm>
            <a:custGeom>
              <a:avLst/>
              <a:gdLst/>
              <a:ahLst/>
              <a:cxnLst/>
              <a:rect l="l" t="t" r="r" b="b"/>
              <a:pathLst>
                <a:path w="386508" h="178593">
                  <a:moveTo>
                    <a:pt x="45719" y="0"/>
                  </a:moveTo>
                  <a:lnTo>
                    <a:pt x="302892" y="0"/>
                  </a:lnTo>
                  <a:lnTo>
                    <a:pt x="374603" y="0"/>
                  </a:lnTo>
                  <a:lnTo>
                    <a:pt x="386508" y="0"/>
                  </a:lnTo>
                  <a:lnTo>
                    <a:pt x="386508" y="178593"/>
                  </a:lnTo>
                  <a:lnTo>
                    <a:pt x="386507" y="178593"/>
                  </a:lnTo>
                  <a:lnTo>
                    <a:pt x="324234" y="178593"/>
                  </a:lnTo>
                  <a:lnTo>
                    <a:pt x="302892" y="178593"/>
                  </a:lnTo>
                  <a:lnTo>
                    <a:pt x="302892" y="85725"/>
                  </a:lnTo>
                  <a:lnTo>
                    <a:pt x="45719" y="857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rgbClr val="881946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indent="-174625" rtl="0"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2" name="Rectangle 2">
              <a:extLst>
                <a:ext uri="{FF2B5EF4-FFF2-40B4-BE49-F238E27FC236}">
                  <a16:creationId xmlns:a16="http://schemas.microsoft.com/office/drawing/2014/main" id="{BFA531CA-85C6-124A-8B0F-C1CA2A76032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733144" y="5212231"/>
              <a:ext cx="274320" cy="126755"/>
            </a:xfrm>
            <a:custGeom>
              <a:avLst/>
              <a:gdLst/>
              <a:ahLst/>
              <a:cxnLst/>
              <a:rect l="l" t="t" r="r" b="b"/>
              <a:pathLst>
                <a:path w="386508" h="178593">
                  <a:moveTo>
                    <a:pt x="45719" y="0"/>
                  </a:moveTo>
                  <a:lnTo>
                    <a:pt x="302892" y="0"/>
                  </a:lnTo>
                  <a:lnTo>
                    <a:pt x="374603" y="0"/>
                  </a:lnTo>
                  <a:lnTo>
                    <a:pt x="386508" y="0"/>
                  </a:lnTo>
                  <a:lnTo>
                    <a:pt x="386508" y="178593"/>
                  </a:lnTo>
                  <a:lnTo>
                    <a:pt x="386507" y="178593"/>
                  </a:lnTo>
                  <a:lnTo>
                    <a:pt x="324234" y="178593"/>
                  </a:lnTo>
                  <a:lnTo>
                    <a:pt x="302892" y="178593"/>
                  </a:lnTo>
                  <a:lnTo>
                    <a:pt x="302892" y="85725"/>
                  </a:lnTo>
                  <a:lnTo>
                    <a:pt x="45719" y="857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rgbClr val="881946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indent="-174625" rtl="0"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D330D06E-9FD4-4B42-9546-12CDC51263D4}"/>
              </a:ext>
            </a:extLst>
          </p:cNvPr>
          <p:cNvSpPr/>
          <p:nvPr userDrawn="1"/>
        </p:nvSpPr>
        <p:spPr>
          <a:xfrm>
            <a:off x="16078" y="6165850"/>
            <a:ext cx="12192000" cy="6921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3F177AED-8C27-CF40-865F-9C24EE2859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69587" y="6321805"/>
            <a:ext cx="3652828" cy="399402"/>
          </a:xfrm>
        </p:spPr>
        <p:txBody>
          <a:bodyPr anchor="ctr">
            <a:noAutofit/>
          </a:bodyPr>
          <a:lstStyle>
            <a:lvl1pPr marL="0" indent="0" algn="ctr" rtl="0">
              <a:buNone/>
              <a:defRPr>
                <a:solidFill>
                  <a:srgbClr val="606060"/>
                </a:solidFill>
              </a:defRPr>
            </a:lvl1pPr>
          </a:lstStyle>
          <a:p>
            <a:r>
              <a:rPr lang="en-GB"/>
              <a:t>Click icon to add client logo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76E40FD-5C80-4E1A-B62F-6D1BC34F378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06977" y="519930"/>
            <a:ext cx="2571262" cy="1254125"/>
          </a:xfrm>
        </p:spPr>
        <p:txBody>
          <a:bodyPr/>
          <a:lstStyle>
            <a:lvl1pPr marL="0" indent="0" rtl="0">
              <a:buNone/>
              <a:defRPr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o insert photo overlay, refer to instructions at end of deck</a:t>
            </a:r>
          </a:p>
        </p:txBody>
      </p:sp>
    </p:spTree>
    <p:extLst>
      <p:ext uri="{BB962C8B-B14F-4D97-AF65-F5344CB8AC3E}">
        <p14:creationId xmlns:p14="http://schemas.microsoft.com/office/powerpoint/2010/main" val="37491365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_yellow_client 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654465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>
            <a:spLocks/>
          </p:cNvSpPr>
          <p:nvPr userDrawn="1"/>
        </p:nvSpPr>
        <p:spPr>
          <a:xfrm>
            <a:off x="4233" y="0"/>
            <a:ext cx="12175922" cy="6858000"/>
          </a:xfrm>
          <a:prstGeom prst="rect">
            <a:avLst/>
          </a:prstGeom>
          <a:solidFill>
            <a:srgbClr val="F3B11C">
              <a:alpha val="89804"/>
            </a:srgb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813539" y="4130038"/>
            <a:ext cx="6564923" cy="215444"/>
          </a:xfrm>
        </p:spPr>
        <p:txBody>
          <a:bodyPr wrap="square" anchor="t">
            <a:spAutoFit/>
          </a:bodyPr>
          <a:lstStyle>
            <a:lvl1pPr marL="0" indent="0" algn="ctr" rtl="0">
              <a:spcAft>
                <a:spcPts val="0"/>
              </a:spcAft>
              <a:buNone/>
              <a:defRPr sz="1400" cap="all" spc="30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 baseline="0"/>
            </a:lvl6pPr>
            <a:lvl7pPr>
              <a:defRPr baseline="0"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Section on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312985" y="2022479"/>
            <a:ext cx="9566031" cy="1477328"/>
          </a:xfrm>
        </p:spPr>
        <p:txBody>
          <a:bodyPr wrap="square" anchor="b">
            <a:spAutoFit/>
          </a:bodyPr>
          <a:lstStyle>
            <a:lvl1pPr marL="0" indent="0" algn="ctr" rtl="0">
              <a:buNone/>
              <a:defRPr sz="4800" baseline="0">
                <a:solidFill>
                  <a:schemeClr val="bg1"/>
                </a:solidFill>
                <a:latin typeface="Lato Light" panose="020F030202020403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 baseline="0"/>
            </a:lvl6pPr>
            <a:lvl7pPr>
              <a:defRPr baseline="0"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Section Title in </a:t>
            </a:r>
            <a:r>
              <a:rPr lang="en-GB" err="1"/>
              <a:t>Lato</a:t>
            </a:r>
            <a:r>
              <a:rPr lang="en-GB"/>
              <a:t> Light</a:t>
            </a:r>
            <a:br>
              <a:rPr lang="en-GB"/>
            </a:br>
            <a:r>
              <a:rPr lang="en-GB"/>
              <a:t>48 point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21426C6-421F-C843-8E75-758EBA0C6474}"/>
              </a:ext>
            </a:extLst>
          </p:cNvPr>
          <p:cNvGrpSpPr/>
          <p:nvPr userDrawn="1"/>
        </p:nvGrpSpPr>
        <p:grpSpPr>
          <a:xfrm>
            <a:off x="856261" y="907813"/>
            <a:ext cx="10479479" cy="4421054"/>
            <a:chOff x="733144" y="917932"/>
            <a:chExt cx="8514577" cy="4421054"/>
          </a:xfrm>
        </p:grpSpPr>
        <p:sp>
          <p:nvSpPr>
            <p:cNvPr id="19" name="Rectangle 2">
              <a:extLst>
                <a:ext uri="{FF2B5EF4-FFF2-40B4-BE49-F238E27FC236}">
                  <a16:creationId xmlns:a16="http://schemas.microsoft.com/office/drawing/2014/main" id="{D47781E6-69B4-2C41-BC0D-98606BC3A88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73401" y="917932"/>
              <a:ext cx="274320" cy="126755"/>
            </a:xfrm>
            <a:custGeom>
              <a:avLst/>
              <a:gdLst/>
              <a:ahLst/>
              <a:cxnLst/>
              <a:rect l="l" t="t" r="r" b="b"/>
              <a:pathLst>
                <a:path w="386508" h="178593">
                  <a:moveTo>
                    <a:pt x="45719" y="0"/>
                  </a:moveTo>
                  <a:lnTo>
                    <a:pt x="302892" y="0"/>
                  </a:lnTo>
                  <a:lnTo>
                    <a:pt x="374603" y="0"/>
                  </a:lnTo>
                  <a:lnTo>
                    <a:pt x="386508" y="0"/>
                  </a:lnTo>
                  <a:lnTo>
                    <a:pt x="386508" y="178593"/>
                  </a:lnTo>
                  <a:lnTo>
                    <a:pt x="386507" y="178593"/>
                  </a:lnTo>
                  <a:lnTo>
                    <a:pt x="324234" y="178593"/>
                  </a:lnTo>
                  <a:lnTo>
                    <a:pt x="302892" y="178593"/>
                  </a:lnTo>
                  <a:lnTo>
                    <a:pt x="302892" y="85725"/>
                  </a:lnTo>
                  <a:lnTo>
                    <a:pt x="45719" y="857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rgbClr val="881946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indent="-174625" rtl="0"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2" name="Rectangle 2">
              <a:extLst>
                <a:ext uri="{FF2B5EF4-FFF2-40B4-BE49-F238E27FC236}">
                  <a16:creationId xmlns:a16="http://schemas.microsoft.com/office/drawing/2014/main" id="{BFA531CA-85C6-124A-8B0F-C1CA2A76032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733144" y="5212231"/>
              <a:ext cx="274320" cy="126755"/>
            </a:xfrm>
            <a:custGeom>
              <a:avLst/>
              <a:gdLst/>
              <a:ahLst/>
              <a:cxnLst/>
              <a:rect l="l" t="t" r="r" b="b"/>
              <a:pathLst>
                <a:path w="386508" h="178593">
                  <a:moveTo>
                    <a:pt x="45719" y="0"/>
                  </a:moveTo>
                  <a:lnTo>
                    <a:pt x="302892" y="0"/>
                  </a:lnTo>
                  <a:lnTo>
                    <a:pt x="374603" y="0"/>
                  </a:lnTo>
                  <a:lnTo>
                    <a:pt x="386508" y="0"/>
                  </a:lnTo>
                  <a:lnTo>
                    <a:pt x="386508" y="178593"/>
                  </a:lnTo>
                  <a:lnTo>
                    <a:pt x="386507" y="178593"/>
                  </a:lnTo>
                  <a:lnTo>
                    <a:pt x="324234" y="178593"/>
                  </a:lnTo>
                  <a:lnTo>
                    <a:pt x="302892" y="178593"/>
                  </a:lnTo>
                  <a:lnTo>
                    <a:pt x="302892" y="85725"/>
                  </a:lnTo>
                  <a:lnTo>
                    <a:pt x="45719" y="857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rgbClr val="881946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indent="-174625" rtl="0"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D330D06E-9FD4-4B42-9546-12CDC51263D4}"/>
              </a:ext>
            </a:extLst>
          </p:cNvPr>
          <p:cNvSpPr/>
          <p:nvPr userDrawn="1"/>
        </p:nvSpPr>
        <p:spPr>
          <a:xfrm>
            <a:off x="0" y="6165850"/>
            <a:ext cx="12192000" cy="6921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3F177AED-8C27-CF40-865F-9C24EE2859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69587" y="6321805"/>
            <a:ext cx="3652828" cy="399402"/>
          </a:xfrm>
        </p:spPr>
        <p:txBody>
          <a:bodyPr anchor="ctr">
            <a:noAutofit/>
          </a:bodyPr>
          <a:lstStyle>
            <a:lvl1pPr marL="0" indent="0" algn="ctr" rtl="0">
              <a:buNone/>
              <a:defRPr>
                <a:solidFill>
                  <a:srgbClr val="606060"/>
                </a:solidFill>
              </a:defRPr>
            </a:lvl1pPr>
          </a:lstStyle>
          <a:p>
            <a:r>
              <a:rPr lang="en-GB"/>
              <a:t>Click icon to add client logo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DF6073C-B13B-4941-9CFE-2D8460CB48E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06977" y="519930"/>
            <a:ext cx="2571262" cy="1254125"/>
          </a:xfrm>
        </p:spPr>
        <p:txBody>
          <a:bodyPr/>
          <a:lstStyle>
            <a:lvl1pPr marL="0" indent="0" rtl="0">
              <a:buNone/>
              <a:defRPr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o insert photo overlay, refer to instructions at end of deck</a:t>
            </a:r>
          </a:p>
        </p:txBody>
      </p:sp>
    </p:spTree>
    <p:extLst>
      <p:ext uri="{BB962C8B-B14F-4D97-AF65-F5344CB8AC3E}">
        <p14:creationId xmlns:p14="http://schemas.microsoft.com/office/powerpoint/2010/main" val="12351778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_grey_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728329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918A87">
              <a:alpha val="89804"/>
            </a:srgb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813539" y="4130038"/>
            <a:ext cx="6564923" cy="215444"/>
          </a:xfrm>
        </p:spPr>
        <p:txBody>
          <a:bodyPr wrap="square" anchor="t">
            <a:spAutoFit/>
          </a:bodyPr>
          <a:lstStyle>
            <a:lvl1pPr marL="0" indent="0" algn="ctr" rtl="0">
              <a:spcAft>
                <a:spcPts val="0"/>
              </a:spcAft>
              <a:buNone/>
              <a:defRPr sz="1400" cap="all" spc="30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 baseline="0"/>
            </a:lvl6pPr>
            <a:lvl7pPr>
              <a:defRPr baseline="0"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Section on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312985" y="2022479"/>
            <a:ext cx="9566031" cy="1477328"/>
          </a:xfrm>
        </p:spPr>
        <p:txBody>
          <a:bodyPr wrap="square" anchor="b">
            <a:spAutoFit/>
          </a:bodyPr>
          <a:lstStyle>
            <a:lvl1pPr marL="0" indent="0" algn="ctr" rtl="0">
              <a:buNone/>
              <a:defRPr sz="4800" baseline="0">
                <a:solidFill>
                  <a:schemeClr val="bg1"/>
                </a:solidFill>
                <a:latin typeface="Lato Light" panose="020F0302020204030203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 baseline="0"/>
            </a:lvl6pPr>
            <a:lvl7pPr>
              <a:defRPr baseline="0"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/>
              <a:t>Section Title in </a:t>
            </a:r>
            <a:r>
              <a:rPr lang="en-GB" err="1"/>
              <a:t>Lato</a:t>
            </a:r>
            <a:r>
              <a:rPr lang="en-GB"/>
              <a:t> Light</a:t>
            </a:r>
            <a:br>
              <a:rPr lang="en-GB"/>
            </a:br>
            <a:r>
              <a:rPr lang="en-GB"/>
              <a:t>48 point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21426C6-421F-C843-8E75-758EBA0C6474}"/>
              </a:ext>
            </a:extLst>
          </p:cNvPr>
          <p:cNvGrpSpPr/>
          <p:nvPr userDrawn="1"/>
        </p:nvGrpSpPr>
        <p:grpSpPr>
          <a:xfrm>
            <a:off x="856261" y="907813"/>
            <a:ext cx="10479479" cy="4421054"/>
            <a:chOff x="733144" y="917932"/>
            <a:chExt cx="8514577" cy="4421054"/>
          </a:xfrm>
        </p:grpSpPr>
        <p:sp>
          <p:nvSpPr>
            <p:cNvPr id="19" name="Rectangle 2">
              <a:extLst>
                <a:ext uri="{FF2B5EF4-FFF2-40B4-BE49-F238E27FC236}">
                  <a16:creationId xmlns:a16="http://schemas.microsoft.com/office/drawing/2014/main" id="{D47781E6-69B4-2C41-BC0D-98606BC3A88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973401" y="917932"/>
              <a:ext cx="274320" cy="126755"/>
            </a:xfrm>
            <a:custGeom>
              <a:avLst/>
              <a:gdLst/>
              <a:ahLst/>
              <a:cxnLst/>
              <a:rect l="l" t="t" r="r" b="b"/>
              <a:pathLst>
                <a:path w="386508" h="178593">
                  <a:moveTo>
                    <a:pt x="45719" y="0"/>
                  </a:moveTo>
                  <a:lnTo>
                    <a:pt x="302892" y="0"/>
                  </a:lnTo>
                  <a:lnTo>
                    <a:pt x="374603" y="0"/>
                  </a:lnTo>
                  <a:lnTo>
                    <a:pt x="386508" y="0"/>
                  </a:lnTo>
                  <a:lnTo>
                    <a:pt x="386508" y="178593"/>
                  </a:lnTo>
                  <a:lnTo>
                    <a:pt x="386507" y="178593"/>
                  </a:lnTo>
                  <a:lnTo>
                    <a:pt x="324234" y="178593"/>
                  </a:lnTo>
                  <a:lnTo>
                    <a:pt x="302892" y="178593"/>
                  </a:lnTo>
                  <a:lnTo>
                    <a:pt x="302892" y="85725"/>
                  </a:lnTo>
                  <a:lnTo>
                    <a:pt x="45719" y="857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rgbClr val="881946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indent="-174625" rtl="0"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2" name="Rectangle 2">
              <a:extLst>
                <a:ext uri="{FF2B5EF4-FFF2-40B4-BE49-F238E27FC236}">
                  <a16:creationId xmlns:a16="http://schemas.microsoft.com/office/drawing/2014/main" id="{BFA531CA-85C6-124A-8B0F-C1CA2A760323}"/>
                </a:ext>
              </a:extLst>
            </p:cNvPr>
            <p:cNvSpPr>
              <a:spLocks noChangeAspect="1"/>
            </p:cNvSpPr>
            <p:nvPr userDrawn="1"/>
          </p:nvSpPr>
          <p:spPr>
            <a:xfrm flipH="1" flipV="1">
              <a:off x="733144" y="5212231"/>
              <a:ext cx="274320" cy="126755"/>
            </a:xfrm>
            <a:custGeom>
              <a:avLst/>
              <a:gdLst/>
              <a:ahLst/>
              <a:cxnLst/>
              <a:rect l="l" t="t" r="r" b="b"/>
              <a:pathLst>
                <a:path w="386508" h="178593">
                  <a:moveTo>
                    <a:pt x="45719" y="0"/>
                  </a:moveTo>
                  <a:lnTo>
                    <a:pt x="302892" y="0"/>
                  </a:lnTo>
                  <a:lnTo>
                    <a:pt x="374603" y="0"/>
                  </a:lnTo>
                  <a:lnTo>
                    <a:pt x="386508" y="0"/>
                  </a:lnTo>
                  <a:lnTo>
                    <a:pt x="386508" y="178593"/>
                  </a:lnTo>
                  <a:lnTo>
                    <a:pt x="386507" y="178593"/>
                  </a:lnTo>
                  <a:lnTo>
                    <a:pt x="324234" y="178593"/>
                  </a:lnTo>
                  <a:lnTo>
                    <a:pt x="302892" y="178593"/>
                  </a:lnTo>
                  <a:lnTo>
                    <a:pt x="302892" y="85725"/>
                  </a:lnTo>
                  <a:lnTo>
                    <a:pt x="45719" y="857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rgbClr val="881946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indent="-174625" rtl="0"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D330D06E-9FD4-4B42-9546-12CDC51263D4}"/>
              </a:ext>
            </a:extLst>
          </p:cNvPr>
          <p:cNvSpPr/>
          <p:nvPr userDrawn="1"/>
        </p:nvSpPr>
        <p:spPr>
          <a:xfrm>
            <a:off x="0" y="6165850"/>
            <a:ext cx="12192000" cy="6921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3F177AED-8C27-CF40-865F-9C24EE2859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69587" y="6321805"/>
            <a:ext cx="3652828" cy="399402"/>
          </a:xfrm>
        </p:spPr>
        <p:txBody>
          <a:bodyPr anchor="ctr">
            <a:noAutofit/>
          </a:bodyPr>
          <a:lstStyle>
            <a:lvl1pPr marL="0" indent="0" algn="ctr" rtl="0">
              <a:buNone/>
              <a:defRPr>
                <a:solidFill>
                  <a:srgbClr val="606060"/>
                </a:solidFill>
              </a:defRPr>
            </a:lvl1pPr>
          </a:lstStyle>
          <a:p>
            <a:r>
              <a:rPr lang="en-GB"/>
              <a:t>Click icon to add client logo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0F5E71D-FE01-4DBA-9BC5-503D9818A2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06977" y="519930"/>
            <a:ext cx="2571262" cy="1254125"/>
          </a:xfrm>
        </p:spPr>
        <p:txBody>
          <a:bodyPr/>
          <a:lstStyle>
            <a:lvl1pPr marL="0" indent="0" rtl="0">
              <a:buNone/>
              <a:defRPr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o insert photo overlay, refer to instructions at end of deck</a:t>
            </a:r>
          </a:p>
        </p:txBody>
      </p:sp>
    </p:spTree>
    <p:extLst>
      <p:ext uri="{BB962C8B-B14F-4D97-AF65-F5344CB8AC3E}">
        <p14:creationId xmlns:p14="http://schemas.microsoft.com/office/powerpoint/2010/main" val="7596736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67139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3"/>
          <p:cNvSpPr>
            <a:spLocks noChangeArrowheads="1"/>
          </p:cNvSpPr>
          <p:nvPr userDrawn="1"/>
        </p:nvSpPr>
        <p:spPr bwMode="gray">
          <a:xfrm>
            <a:off x="1" y="0"/>
            <a:ext cx="6425758" cy="6858000"/>
          </a:xfrm>
          <a:prstGeom prst="rect">
            <a:avLst/>
          </a:prstGeom>
          <a:solidFill>
            <a:schemeClr val="accent3">
              <a:alpha val="71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914400" rtl="0">
              <a:lnSpc>
                <a:spcPct val="100000"/>
              </a:lnSpc>
              <a:spcBef>
                <a:spcPts val="0"/>
              </a:spcBef>
            </a:pPr>
            <a:endParaRPr lang="en-US" sz="1600">
              <a:cs typeface="Arial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5B1D498-EFEC-FF4D-B3C0-AB0DC1191F9D}"/>
              </a:ext>
            </a:extLst>
          </p:cNvPr>
          <p:cNvGrpSpPr/>
          <p:nvPr userDrawn="1"/>
        </p:nvGrpSpPr>
        <p:grpSpPr>
          <a:xfrm>
            <a:off x="680658" y="548347"/>
            <a:ext cx="4601989" cy="5741781"/>
            <a:chOff x="1002364" y="142913"/>
            <a:chExt cx="3739116" cy="5741781"/>
          </a:xfrm>
        </p:grpSpPr>
        <p:sp>
          <p:nvSpPr>
            <p:cNvPr id="21" name="Rectangle 2">
              <a:extLst>
                <a:ext uri="{FF2B5EF4-FFF2-40B4-BE49-F238E27FC236}">
                  <a16:creationId xmlns:a16="http://schemas.microsoft.com/office/drawing/2014/main" id="{4CFFFD26-1CDE-1743-B69E-B3B891424AF2}"/>
                </a:ext>
              </a:extLst>
            </p:cNvPr>
            <p:cNvSpPr/>
            <p:nvPr/>
          </p:nvSpPr>
          <p:spPr>
            <a:xfrm>
              <a:off x="4459747" y="142913"/>
              <a:ext cx="281733" cy="122379"/>
            </a:xfrm>
            <a:custGeom>
              <a:avLst/>
              <a:gdLst/>
              <a:ahLst/>
              <a:cxnLst/>
              <a:rect l="l" t="t" r="r" b="b"/>
              <a:pathLst>
                <a:path w="386508" h="178593">
                  <a:moveTo>
                    <a:pt x="45719" y="0"/>
                  </a:moveTo>
                  <a:lnTo>
                    <a:pt x="302892" y="0"/>
                  </a:lnTo>
                  <a:lnTo>
                    <a:pt x="374603" y="0"/>
                  </a:lnTo>
                  <a:lnTo>
                    <a:pt x="386508" y="0"/>
                  </a:lnTo>
                  <a:lnTo>
                    <a:pt x="386508" y="178593"/>
                  </a:lnTo>
                  <a:lnTo>
                    <a:pt x="386507" y="178593"/>
                  </a:lnTo>
                  <a:lnTo>
                    <a:pt x="324234" y="178593"/>
                  </a:lnTo>
                  <a:lnTo>
                    <a:pt x="302892" y="178593"/>
                  </a:lnTo>
                  <a:lnTo>
                    <a:pt x="302892" y="85725"/>
                  </a:lnTo>
                  <a:lnTo>
                    <a:pt x="45719" y="857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rgbClr val="881946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indent="-174625" rtl="0"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2" name="Rectangle 2">
              <a:extLst>
                <a:ext uri="{FF2B5EF4-FFF2-40B4-BE49-F238E27FC236}">
                  <a16:creationId xmlns:a16="http://schemas.microsoft.com/office/drawing/2014/main" id="{823C5126-B40E-2E48-95DC-B0A5A28C4D37}"/>
                </a:ext>
              </a:extLst>
            </p:cNvPr>
            <p:cNvSpPr/>
            <p:nvPr/>
          </p:nvSpPr>
          <p:spPr>
            <a:xfrm rot="10800000">
              <a:off x="1002364" y="5762315"/>
              <a:ext cx="281733" cy="122379"/>
            </a:xfrm>
            <a:custGeom>
              <a:avLst/>
              <a:gdLst/>
              <a:ahLst/>
              <a:cxnLst/>
              <a:rect l="l" t="t" r="r" b="b"/>
              <a:pathLst>
                <a:path w="386508" h="178593">
                  <a:moveTo>
                    <a:pt x="45719" y="0"/>
                  </a:moveTo>
                  <a:lnTo>
                    <a:pt x="302892" y="0"/>
                  </a:lnTo>
                  <a:lnTo>
                    <a:pt x="374603" y="0"/>
                  </a:lnTo>
                  <a:lnTo>
                    <a:pt x="386508" y="0"/>
                  </a:lnTo>
                  <a:lnTo>
                    <a:pt x="386508" y="178593"/>
                  </a:lnTo>
                  <a:lnTo>
                    <a:pt x="386507" y="178593"/>
                  </a:lnTo>
                  <a:lnTo>
                    <a:pt x="324234" y="178593"/>
                  </a:lnTo>
                  <a:lnTo>
                    <a:pt x="302892" y="178593"/>
                  </a:lnTo>
                  <a:lnTo>
                    <a:pt x="302892" y="85725"/>
                  </a:lnTo>
                  <a:lnTo>
                    <a:pt x="45719" y="857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rgbClr val="881946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indent="-174625" rtl="0"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</p:grp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EC1B98EC-EB4B-1F47-B880-6ED8191356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09126" y="5014800"/>
            <a:ext cx="3545054" cy="190856"/>
          </a:xfrm>
        </p:spPr>
        <p:txBody>
          <a:bodyPr wrap="square" anchor="t">
            <a:noAutofit/>
          </a:bodyPr>
          <a:lstStyle>
            <a:lvl1pPr marL="0" indent="0" algn="ctr" rtl="0">
              <a:buNone/>
              <a:defRPr sz="1600" i="0" cap="none" baseline="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 baseline="0">
                <a:solidFill>
                  <a:schemeClr val="bg1"/>
                </a:solidFill>
              </a:defRPr>
            </a:lvl5pPr>
            <a:lvl6pPr>
              <a:defRPr sz="1600" baseline="0">
                <a:solidFill>
                  <a:schemeClr val="bg1"/>
                </a:solidFill>
              </a:defRPr>
            </a:lvl6pPr>
            <a:lvl7pPr>
              <a:defRPr sz="1600" baseline="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EILEEN MI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C4B1124-CD42-3F4A-9C72-A764B830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9126" y="1718331"/>
            <a:ext cx="3545054" cy="2769989"/>
          </a:xfrm>
        </p:spPr>
        <p:txBody>
          <a:bodyPr wrap="square" anchor="ctr">
            <a:spAutoFit/>
          </a:bodyPr>
          <a:lstStyle>
            <a:lvl1pPr marL="0" indent="0" algn="ctr" rtl="0">
              <a:buNone/>
              <a:defRPr sz="1800" i="1">
                <a:solidFill>
                  <a:schemeClr val="bg1"/>
                </a:solidFill>
                <a:latin typeface="Lato Light" panose="020F030202020403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 baseline="0">
                <a:solidFill>
                  <a:schemeClr val="bg1"/>
                </a:solidFill>
              </a:defRPr>
            </a:lvl5pPr>
            <a:lvl6pPr>
              <a:defRPr sz="1600" baseline="0">
                <a:solidFill>
                  <a:schemeClr val="bg1"/>
                </a:solidFill>
              </a:defRPr>
            </a:lvl6pPr>
            <a:lvl7pPr>
              <a:defRPr sz="1600" baseline="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Aenean </a:t>
            </a:r>
            <a:r>
              <a:rPr lang="en-GB" err="1"/>
              <a:t>commodo</a:t>
            </a:r>
            <a:r>
              <a:rPr lang="en-GB"/>
              <a:t> ligula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. Aenean </a:t>
            </a:r>
            <a:r>
              <a:rPr lang="en-GB" err="1"/>
              <a:t>massa</a:t>
            </a:r>
            <a:r>
              <a:rPr lang="en-GB"/>
              <a:t>. Cum sociis </a:t>
            </a:r>
            <a:r>
              <a:rPr lang="en-GB" err="1"/>
              <a:t>natoque</a:t>
            </a:r>
            <a:r>
              <a:rPr lang="en-GB"/>
              <a:t> </a:t>
            </a:r>
            <a:r>
              <a:rPr lang="en-GB" err="1"/>
              <a:t>penatibus</a:t>
            </a:r>
            <a:r>
              <a:rPr lang="en-GB"/>
              <a:t> et </a:t>
            </a:r>
            <a:r>
              <a:rPr lang="en-GB" err="1"/>
              <a:t>magnis</a:t>
            </a:r>
            <a:r>
              <a:rPr lang="en-GB"/>
              <a:t> dis parturient </a:t>
            </a:r>
            <a:r>
              <a:rPr lang="en-GB" err="1"/>
              <a:t>montes</a:t>
            </a:r>
            <a:r>
              <a:rPr lang="en-GB"/>
              <a:t>, </a:t>
            </a:r>
            <a:r>
              <a:rPr lang="en-GB" err="1"/>
              <a:t>nascetur</a:t>
            </a:r>
            <a:r>
              <a:rPr lang="en-GB"/>
              <a:t> </a:t>
            </a:r>
            <a:r>
              <a:rPr lang="en-GB" err="1"/>
              <a:t>ridiculus</a:t>
            </a:r>
            <a:r>
              <a:rPr lang="en-GB"/>
              <a:t> mus. Donec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felis</a:t>
            </a:r>
            <a:r>
              <a:rPr lang="en-GB"/>
              <a:t>,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, </a:t>
            </a:r>
            <a:r>
              <a:rPr lang="en-GB" err="1"/>
              <a:t>pretiu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, sem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 </a:t>
            </a:r>
            <a:r>
              <a:rPr lang="en-GB" err="1"/>
              <a:t>massa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 Donec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5BBFB052-0B22-454A-ABB2-339A5481C7B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09126" y="5243755"/>
            <a:ext cx="3545054" cy="190856"/>
          </a:xfrm>
        </p:spPr>
        <p:txBody>
          <a:bodyPr wrap="square" anchor="t">
            <a:noAutofit/>
          </a:bodyPr>
          <a:lstStyle>
            <a:lvl1pPr marL="0" indent="0" algn="ctr" rtl="0">
              <a:buNone/>
              <a:defRPr sz="1200" i="1" cap="none" baseline="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 baseline="0">
                <a:solidFill>
                  <a:schemeClr val="bg1"/>
                </a:solidFill>
              </a:defRPr>
            </a:lvl5pPr>
            <a:lvl6pPr>
              <a:defRPr sz="1600" baseline="0">
                <a:solidFill>
                  <a:schemeClr val="bg1"/>
                </a:solidFill>
              </a:defRPr>
            </a:lvl6pPr>
            <a:lvl7pPr>
              <a:defRPr sz="1600" baseline="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Research Lead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0FC381F7-367C-405E-AF5B-C4952BFC44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92830" y="1684422"/>
            <a:ext cx="3102092" cy="1451164"/>
          </a:xfrm>
        </p:spPr>
        <p:txBody>
          <a:bodyPr/>
          <a:lstStyle>
            <a:lvl1pPr marL="0" indent="0" rtl="0">
              <a:buNone/>
              <a:defRPr i="1">
                <a:solidFill>
                  <a:srgbClr val="606060"/>
                </a:solidFill>
              </a:defRPr>
            </a:lvl1pPr>
          </a:lstStyle>
          <a:p>
            <a:pPr lvl="0"/>
            <a:r>
              <a:rPr lang="en-GB"/>
              <a:t>This slide requires a photo background. To insert a photo, refer to instructions at end of deck. This photo should be the size of the entire slide and sent to back.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EBAC4BF-8EAB-434D-80FA-2666F2ED73AE}"/>
              </a:ext>
            </a:extLst>
          </p:cNvPr>
          <p:cNvSpPr/>
          <p:nvPr userDrawn="1"/>
        </p:nvSpPr>
        <p:spPr>
          <a:xfrm>
            <a:off x="11562530" y="6359076"/>
            <a:ext cx="629470" cy="498924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CEDDC91D-2949-4686-B546-7A6016B97E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43978" y="6529864"/>
            <a:ext cx="28003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 rtl="0">
              <a:defRPr sz="1000">
                <a:solidFill>
                  <a:schemeClr val="bg1"/>
                </a:solidFill>
                <a:latin typeface="Lato" panose="020F0502020204030203" pitchFamily="34" charset="0"/>
                <a:cs typeface="Arial" pitchFamily="34" charset="0"/>
              </a:defRPr>
            </a:lvl1pPr>
          </a:lstStyle>
          <a:p>
            <a:fld id="{A90607E6-BCED-4FC1-A345-AB2A307AB80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FFDA6B7-202F-46EC-B3D3-81DAF79A3AD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0621" y="6511926"/>
            <a:ext cx="869730" cy="215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7063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7823814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3"/>
          <p:cNvSpPr>
            <a:spLocks noChangeArrowheads="1"/>
          </p:cNvSpPr>
          <p:nvPr userDrawn="1"/>
        </p:nvSpPr>
        <p:spPr bwMode="gray">
          <a:xfrm>
            <a:off x="3" y="1857829"/>
            <a:ext cx="6645307" cy="3142340"/>
          </a:xfrm>
          <a:prstGeom prst="rect">
            <a:avLst/>
          </a:prstGeom>
          <a:solidFill>
            <a:srgbClr val="0889A8">
              <a:alpha val="89804"/>
            </a:srgbClr>
          </a:solidFill>
          <a:ln>
            <a:noFill/>
          </a:ln>
          <a:effectLst/>
        </p:spPr>
        <p:txBody>
          <a:bodyPr wrap="none" lIns="107287" tIns="53643" rIns="107287" bIns="53643" anchor="ctr"/>
          <a:lstStyle/>
          <a:p>
            <a:pPr algn="ctr" rtl="0"/>
            <a:endParaRPr lang="en-US" sz="180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61633" y="3677553"/>
            <a:ext cx="5345722" cy="246221"/>
          </a:xfrm>
        </p:spPr>
        <p:txBody>
          <a:bodyPr wrap="square" anchor="t">
            <a:spAutoFit/>
          </a:bodyPr>
          <a:lstStyle>
            <a:lvl1pPr marL="0" indent="0" algn="ctr" rtl="0">
              <a:buNone/>
              <a:defRPr sz="1600" cap="all" baseline="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 baseline="0">
                <a:solidFill>
                  <a:schemeClr val="bg1"/>
                </a:solidFill>
              </a:defRPr>
            </a:lvl5pPr>
            <a:lvl6pPr>
              <a:defRPr sz="1600" baseline="0">
                <a:solidFill>
                  <a:schemeClr val="bg1"/>
                </a:solidFill>
              </a:defRPr>
            </a:lvl6pPr>
            <a:lvl7pPr>
              <a:defRPr sz="1600" baseline="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err="1"/>
              <a:t>Elineen</a:t>
            </a:r>
            <a:r>
              <a:rPr lang="en-GB"/>
              <a:t> miles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306569" y="2676827"/>
            <a:ext cx="4055847" cy="830997"/>
          </a:xfrm>
        </p:spPr>
        <p:txBody>
          <a:bodyPr wrap="square" anchor="ctr">
            <a:spAutoFit/>
          </a:bodyPr>
          <a:lstStyle>
            <a:lvl1pPr marL="0" indent="0" algn="ctr" rtl="0">
              <a:buNone/>
              <a:defRPr sz="1800" i="1">
                <a:solidFill>
                  <a:schemeClr val="bg1"/>
                </a:solidFill>
                <a:latin typeface="Lato Light" panose="020F030202020403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 baseline="0">
                <a:solidFill>
                  <a:schemeClr val="bg1"/>
                </a:solidFill>
              </a:defRPr>
            </a:lvl5pPr>
            <a:lvl6pPr>
              <a:defRPr sz="1600" baseline="0">
                <a:solidFill>
                  <a:schemeClr val="bg1"/>
                </a:solidFill>
              </a:defRPr>
            </a:lvl6pPr>
            <a:lvl7pPr>
              <a:defRPr sz="1600" baseline="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The most surprising user research result we received was data activate effective global an effective social .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3C5E7F5-6E3D-4F4C-821C-55CB79D15E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1633" y="3971117"/>
            <a:ext cx="5345722" cy="184666"/>
          </a:xfrm>
        </p:spPr>
        <p:txBody>
          <a:bodyPr wrap="square" anchor="t">
            <a:spAutoFit/>
          </a:bodyPr>
          <a:lstStyle>
            <a:lvl1pPr marL="0" indent="0" algn="ctr" rtl="0">
              <a:buNone/>
              <a:defRPr sz="1200" i="1" cap="none" baseline="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 baseline="0">
                <a:solidFill>
                  <a:schemeClr val="bg1"/>
                </a:solidFill>
              </a:defRPr>
            </a:lvl5pPr>
            <a:lvl6pPr>
              <a:defRPr sz="1600" baseline="0">
                <a:solidFill>
                  <a:schemeClr val="bg1"/>
                </a:solidFill>
              </a:defRPr>
            </a:lvl6pPr>
            <a:lvl7pPr>
              <a:defRPr sz="1600" baseline="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Research Lead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6ED5C05-07B8-AF42-9461-71375C78A8D5}"/>
              </a:ext>
            </a:extLst>
          </p:cNvPr>
          <p:cNvGrpSpPr/>
          <p:nvPr userDrawn="1"/>
        </p:nvGrpSpPr>
        <p:grpSpPr>
          <a:xfrm>
            <a:off x="488258" y="2284218"/>
            <a:ext cx="5607743" cy="2295023"/>
            <a:chOff x="-264140" y="968376"/>
            <a:chExt cx="4556291" cy="2295023"/>
          </a:xfrm>
        </p:grpSpPr>
        <p:sp>
          <p:nvSpPr>
            <p:cNvPr id="29" name="Rectangle 2">
              <a:extLst>
                <a:ext uri="{FF2B5EF4-FFF2-40B4-BE49-F238E27FC236}">
                  <a16:creationId xmlns:a16="http://schemas.microsoft.com/office/drawing/2014/main" id="{4A10F512-8530-0242-A648-ACEE9763CFC1}"/>
                </a:ext>
              </a:extLst>
            </p:cNvPr>
            <p:cNvSpPr/>
            <p:nvPr userDrawn="1"/>
          </p:nvSpPr>
          <p:spPr>
            <a:xfrm>
              <a:off x="4010418" y="968376"/>
              <a:ext cx="281733" cy="122379"/>
            </a:xfrm>
            <a:custGeom>
              <a:avLst/>
              <a:gdLst/>
              <a:ahLst/>
              <a:cxnLst/>
              <a:rect l="l" t="t" r="r" b="b"/>
              <a:pathLst>
                <a:path w="386508" h="178593">
                  <a:moveTo>
                    <a:pt x="45719" y="0"/>
                  </a:moveTo>
                  <a:lnTo>
                    <a:pt x="302892" y="0"/>
                  </a:lnTo>
                  <a:lnTo>
                    <a:pt x="374603" y="0"/>
                  </a:lnTo>
                  <a:lnTo>
                    <a:pt x="386508" y="0"/>
                  </a:lnTo>
                  <a:lnTo>
                    <a:pt x="386508" y="178593"/>
                  </a:lnTo>
                  <a:lnTo>
                    <a:pt x="386507" y="178593"/>
                  </a:lnTo>
                  <a:lnTo>
                    <a:pt x="324234" y="178593"/>
                  </a:lnTo>
                  <a:lnTo>
                    <a:pt x="302892" y="178593"/>
                  </a:lnTo>
                  <a:lnTo>
                    <a:pt x="302892" y="85725"/>
                  </a:lnTo>
                  <a:lnTo>
                    <a:pt x="45719" y="857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rgbClr val="881946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indent="-174625" rtl="0"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30" name="Rectangle 2">
              <a:extLst>
                <a:ext uri="{FF2B5EF4-FFF2-40B4-BE49-F238E27FC236}">
                  <a16:creationId xmlns:a16="http://schemas.microsoft.com/office/drawing/2014/main" id="{C2642A8A-C6AD-2B46-8AE9-A5210E876310}"/>
                </a:ext>
              </a:extLst>
            </p:cNvPr>
            <p:cNvSpPr/>
            <p:nvPr userDrawn="1"/>
          </p:nvSpPr>
          <p:spPr>
            <a:xfrm flipH="1" flipV="1">
              <a:off x="-264140" y="3141020"/>
              <a:ext cx="281733" cy="122379"/>
            </a:xfrm>
            <a:custGeom>
              <a:avLst/>
              <a:gdLst/>
              <a:ahLst/>
              <a:cxnLst/>
              <a:rect l="l" t="t" r="r" b="b"/>
              <a:pathLst>
                <a:path w="386508" h="178593">
                  <a:moveTo>
                    <a:pt x="45719" y="0"/>
                  </a:moveTo>
                  <a:lnTo>
                    <a:pt x="302892" y="0"/>
                  </a:lnTo>
                  <a:lnTo>
                    <a:pt x="374603" y="0"/>
                  </a:lnTo>
                  <a:lnTo>
                    <a:pt x="386508" y="0"/>
                  </a:lnTo>
                  <a:lnTo>
                    <a:pt x="386508" y="178593"/>
                  </a:lnTo>
                  <a:lnTo>
                    <a:pt x="386507" y="178593"/>
                  </a:lnTo>
                  <a:lnTo>
                    <a:pt x="324234" y="178593"/>
                  </a:lnTo>
                  <a:lnTo>
                    <a:pt x="302892" y="178593"/>
                  </a:lnTo>
                  <a:lnTo>
                    <a:pt x="302892" y="85725"/>
                  </a:lnTo>
                  <a:lnTo>
                    <a:pt x="45719" y="857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rgbClr val="881946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indent="-174625" rtl="0"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</p:grp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5B43F7AA-49CD-454F-B114-8D3802E133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92830" y="1684422"/>
            <a:ext cx="3102092" cy="1451164"/>
          </a:xfrm>
        </p:spPr>
        <p:txBody>
          <a:bodyPr/>
          <a:lstStyle>
            <a:lvl1pPr marL="0" indent="0" rtl="0">
              <a:buNone/>
              <a:defRPr i="1">
                <a:solidFill>
                  <a:srgbClr val="606060"/>
                </a:solidFill>
              </a:defRPr>
            </a:lvl1pPr>
          </a:lstStyle>
          <a:p>
            <a:pPr lvl="0"/>
            <a:r>
              <a:rPr lang="en-GB"/>
              <a:t>This slide requires a photo background. To insert a photo, refer to instructions at end of deck. This photo should be the size of the entire slide and sent to back.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0D637D1-CB35-4962-9357-C3E1334E7EB7}"/>
              </a:ext>
            </a:extLst>
          </p:cNvPr>
          <p:cNvSpPr/>
          <p:nvPr userDrawn="1"/>
        </p:nvSpPr>
        <p:spPr>
          <a:xfrm>
            <a:off x="11562530" y="6359076"/>
            <a:ext cx="629470" cy="498924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36181EE5-2BCD-419A-98C4-F02366AC2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43978" y="6529864"/>
            <a:ext cx="28003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 rtl="0">
              <a:defRPr sz="1000">
                <a:solidFill>
                  <a:schemeClr val="bg1"/>
                </a:solidFill>
                <a:latin typeface="Lato" panose="020F0502020204030203" pitchFamily="34" charset="0"/>
                <a:cs typeface="Arial" pitchFamily="34" charset="0"/>
              </a:defRPr>
            </a:lvl1pPr>
          </a:lstStyle>
          <a:p>
            <a:fld id="{A90607E6-BCED-4FC1-A345-AB2A307AB80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07CA94C-2283-4EC8-8E37-5F9F9DD0F8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0621" y="6511926"/>
            <a:ext cx="869730" cy="215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1747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1482750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392FDA5-109A-4203-B56F-B7729509A11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-13063"/>
            <a:ext cx="5634892" cy="6858000"/>
          </a:xfrm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C91303B-B052-0B4F-9581-4618A74EC84D}"/>
              </a:ext>
            </a:extLst>
          </p:cNvPr>
          <p:cNvSpPr/>
          <p:nvPr userDrawn="1"/>
        </p:nvSpPr>
        <p:spPr>
          <a:xfrm>
            <a:off x="5627077" y="1"/>
            <a:ext cx="6564923" cy="685799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17557" y="1759136"/>
            <a:ext cx="3545054" cy="2492990"/>
          </a:xfrm>
        </p:spPr>
        <p:txBody>
          <a:bodyPr wrap="square" anchor="ctr">
            <a:spAutoFit/>
          </a:bodyPr>
          <a:lstStyle>
            <a:lvl1pPr marL="0" indent="0" algn="ctr" rtl="0">
              <a:buNone/>
              <a:defRPr sz="1800" i="1">
                <a:solidFill>
                  <a:schemeClr val="tx1"/>
                </a:solidFill>
                <a:latin typeface="Lato Light" panose="020F030202020403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 baseline="0">
                <a:solidFill>
                  <a:schemeClr val="bg1"/>
                </a:solidFill>
              </a:defRPr>
            </a:lvl5pPr>
            <a:lvl6pPr>
              <a:defRPr sz="1600" baseline="0">
                <a:solidFill>
                  <a:schemeClr val="bg1"/>
                </a:solidFill>
              </a:defRPr>
            </a:lvl6pPr>
            <a:lvl7pPr>
              <a:defRPr sz="1600" baseline="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Aenean </a:t>
            </a:r>
            <a:r>
              <a:rPr lang="en-GB" err="1"/>
              <a:t>commodo</a:t>
            </a:r>
            <a:r>
              <a:rPr lang="en-GB"/>
              <a:t> ligula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. Aenean </a:t>
            </a:r>
            <a:r>
              <a:rPr lang="en-GB" err="1"/>
              <a:t>massa</a:t>
            </a:r>
            <a:r>
              <a:rPr lang="en-GB"/>
              <a:t>. Cum sociis </a:t>
            </a:r>
            <a:r>
              <a:rPr lang="en-GB" err="1"/>
              <a:t>natoque</a:t>
            </a:r>
            <a:r>
              <a:rPr lang="en-GB"/>
              <a:t> </a:t>
            </a:r>
            <a:r>
              <a:rPr lang="en-GB" err="1"/>
              <a:t>penatibus</a:t>
            </a:r>
            <a:r>
              <a:rPr lang="en-GB"/>
              <a:t> et </a:t>
            </a:r>
            <a:r>
              <a:rPr lang="en-GB" err="1"/>
              <a:t>magnis</a:t>
            </a:r>
            <a:r>
              <a:rPr lang="en-GB"/>
              <a:t> dis parturient </a:t>
            </a:r>
            <a:r>
              <a:rPr lang="en-GB" err="1"/>
              <a:t>montes</a:t>
            </a:r>
            <a:r>
              <a:rPr lang="en-GB"/>
              <a:t>, </a:t>
            </a:r>
            <a:r>
              <a:rPr lang="en-GB" err="1"/>
              <a:t>nascetur</a:t>
            </a:r>
            <a:r>
              <a:rPr lang="en-GB"/>
              <a:t> </a:t>
            </a:r>
            <a:r>
              <a:rPr lang="en-GB" err="1"/>
              <a:t>ridiculus</a:t>
            </a:r>
            <a:r>
              <a:rPr lang="en-GB"/>
              <a:t> mus. Donec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felis</a:t>
            </a:r>
            <a:r>
              <a:rPr lang="en-GB"/>
              <a:t>,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, </a:t>
            </a:r>
            <a:r>
              <a:rPr lang="en-GB" err="1"/>
              <a:t>pretiu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, sem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 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6612535" y="968375"/>
            <a:ext cx="4601989" cy="4921250"/>
            <a:chOff x="553035" y="968376"/>
            <a:chExt cx="3739116" cy="4921250"/>
          </a:xfrm>
        </p:grpSpPr>
        <p:sp>
          <p:nvSpPr>
            <p:cNvPr id="19" name="Rectangle 2"/>
            <p:cNvSpPr/>
            <p:nvPr userDrawn="1"/>
          </p:nvSpPr>
          <p:spPr>
            <a:xfrm>
              <a:off x="4010418" y="968376"/>
              <a:ext cx="281733" cy="122379"/>
            </a:xfrm>
            <a:custGeom>
              <a:avLst/>
              <a:gdLst/>
              <a:ahLst/>
              <a:cxnLst/>
              <a:rect l="l" t="t" r="r" b="b"/>
              <a:pathLst>
                <a:path w="386508" h="178593">
                  <a:moveTo>
                    <a:pt x="45719" y="0"/>
                  </a:moveTo>
                  <a:lnTo>
                    <a:pt x="302892" y="0"/>
                  </a:lnTo>
                  <a:lnTo>
                    <a:pt x="374603" y="0"/>
                  </a:lnTo>
                  <a:lnTo>
                    <a:pt x="386508" y="0"/>
                  </a:lnTo>
                  <a:lnTo>
                    <a:pt x="386508" y="178593"/>
                  </a:lnTo>
                  <a:lnTo>
                    <a:pt x="386507" y="178593"/>
                  </a:lnTo>
                  <a:lnTo>
                    <a:pt x="324234" y="178593"/>
                  </a:lnTo>
                  <a:lnTo>
                    <a:pt x="302892" y="178593"/>
                  </a:lnTo>
                  <a:lnTo>
                    <a:pt x="302892" y="85725"/>
                  </a:lnTo>
                  <a:lnTo>
                    <a:pt x="45719" y="857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rgbClr val="881946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indent="-174625" rtl="0"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0" name="Rectangle 2"/>
            <p:cNvSpPr/>
            <p:nvPr userDrawn="1"/>
          </p:nvSpPr>
          <p:spPr>
            <a:xfrm flipH="1" flipV="1">
              <a:off x="553035" y="5767247"/>
              <a:ext cx="281733" cy="122379"/>
            </a:xfrm>
            <a:custGeom>
              <a:avLst/>
              <a:gdLst/>
              <a:ahLst/>
              <a:cxnLst/>
              <a:rect l="l" t="t" r="r" b="b"/>
              <a:pathLst>
                <a:path w="386508" h="178593">
                  <a:moveTo>
                    <a:pt x="45719" y="0"/>
                  </a:moveTo>
                  <a:lnTo>
                    <a:pt x="302892" y="0"/>
                  </a:lnTo>
                  <a:lnTo>
                    <a:pt x="374603" y="0"/>
                  </a:lnTo>
                  <a:lnTo>
                    <a:pt x="386508" y="0"/>
                  </a:lnTo>
                  <a:lnTo>
                    <a:pt x="386508" y="178593"/>
                  </a:lnTo>
                  <a:lnTo>
                    <a:pt x="386507" y="178593"/>
                  </a:lnTo>
                  <a:lnTo>
                    <a:pt x="324234" y="178593"/>
                  </a:lnTo>
                  <a:lnTo>
                    <a:pt x="302892" y="178593"/>
                  </a:lnTo>
                  <a:lnTo>
                    <a:pt x="302892" y="85725"/>
                  </a:lnTo>
                  <a:lnTo>
                    <a:pt x="45719" y="857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rgbClr val="881946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indent="-174625" rtl="0"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</p:grp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6C6013CF-FC78-40DA-8ADB-9ABF403335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17557" y="4917107"/>
            <a:ext cx="3545054" cy="190856"/>
          </a:xfrm>
        </p:spPr>
        <p:txBody>
          <a:bodyPr wrap="square" anchor="t">
            <a:noAutofit/>
          </a:bodyPr>
          <a:lstStyle>
            <a:lvl1pPr marL="0" indent="0" algn="ctr" rtl="0">
              <a:buNone/>
              <a:defRPr sz="1600" i="0" cap="none" baseline="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 baseline="0">
                <a:solidFill>
                  <a:schemeClr val="bg1"/>
                </a:solidFill>
              </a:defRPr>
            </a:lvl5pPr>
            <a:lvl6pPr>
              <a:defRPr sz="1600" baseline="0">
                <a:solidFill>
                  <a:schemeClr val="bg1"/>
                </a:solidFill>
              </a:defRPr>
            </a:lvl6pPr>
            <a:lvl7pPr>
              <a:defRPr sz="1600" baseline="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EILEEN MI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990FFE4D-0585-41B6-888F-F398547AA3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17557" y="5146062"/>
            <a:ext cx="3545054" cy="190856"/>
          </a:xfrm>
        </p:spPr>
        <p:txBody>
          <a:bodyPr wrap="square" anchor="t">
            <a:noAutofit/>
          </a:bodyPr>
          <a:lstStyle>
            <a:lvl1pPr marL="0" indent="0" algn="ctr" rtl="0">
              <a:buNone/>
              <a:defRPr sz="1200" i="1" cap="none" baseline="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 baseline="0">
                <a:solidFill>
                  <a:schemeClr val="bg1"/>
                </a:solidFill>
              </a:defRPr>
            </a:lvl5pPr>
            <a:lvl6pPr>
              <a:defRPr sz="1600" baseline="0">
                <a:solidFill>
                  <a:schemeClr val="bg1"/>
                </a:solidFill>
              </a:defRPr>
            </a:lvl6pPr>
            <a:lvl7pPr>
              <a:defRPr sz="1600" baseline="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Research Lead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CC3099CF-9242-480A-AF52-6C5D71F162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10099" y="1482138"/>
            <a:ext cx="2571262" cy="1254125"/>
          </a:xfrm>
        </p:spPr>
        <p:txBody>
          <a:bodyPr/>
          <a:lstStyle>
            <a:lvl1pPr marL="0" indent="0" rtl="0">
              <a:buNone/>
              <a:defRPr i="1">
                <a:solidFill>
                  <a:srgbClr val="606060"/>
                </a:solidFill>
              </a:defRPr>
            </a:lvl1pPr>
          </a:lstStyle>
          <a:p>
            <a:pPr lvl="0"/>
            <a:r>
              <a:rPr lang="en-GB"/>
              <a:t>To insert photo overlay in the left hand side of the slide, refer to instructions at end of deck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CA5E2EC-169B-41D8-AB4A-989D2A6ED05C}"/>
              </a:ext>
            </a:extLst>
          </p:cNvPr>
          <p:cNvSpPr/>
          <p:nvPr userDrawn="1"/>
        </p:nvSpPr>
        <p:spPr>
          <a:xfrm>
            <a:off x="11562530" y="6359076"/>
            <a:ext cx="629470" cy="498924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9FE60C44-24BA-4E7D-BCF5-0722A2C83C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43978" y="6529864"/>
            <a:ext cx="28003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 rtl="0">
              <a:defRPr sz="1000">
                <a:solidFill>
                  <a:schemeClr val="bg1"/>
                </a:solidFill>
                <a:latin typeface="Lato" panose="020F0502020204030203" pitchFamily="34" charset="0"/>
                <a:cs typeface="Arial" pitchFamily="34" charset="0"/>
              </a:defRPr>
            </a:lvl1pPr>
          </a:lstStyle>
          <a:p>
            <a:fld id="{A90607E6-BCED-4FC1-A345-AB2A307AB80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0E64DFA-24F7-456C-9965-EEC797C85A3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0621" y="6511926"/>
            <a:ext cx="869730" cy="215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0454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67389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F7C31C83-38F3-E74C-B744-1DC01F909DF4}"/>
              </a:ext>
            </a:extLst>
          </p:cNvPr>
          <p:cNvSpPr/>
          <p:nvPr userDrawn="1"/>
        </p:nvSpPr>
        <p:spPr>
          <a:xfrm>
            <a:off x="-32016" y="4234"/>
            <a:ext cx="6027338" cy="6858000"/>
          </a:xfrm>
          <a:prstGeom prst="rect">
            <a:avLst/>
          </a:prstGeom>
          <a:solidFill>
            <a:srgbClr val="0889A8">
              <a:alpha val="89804"/>
            </a:srgb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6EA8F19-CE53-4F4B-B808-718A3862F72C}"/>
              </a:ext>
            </a:extLst>
          </p:cNvPr>
          <p:cNvSpPr/>
          <p:nvPr userDrawn="1"/>
        </p:nvSpPr>
        <p:spPr>
          <a:xfrm>
            <a:off x="5963306" y="1"/>
            <a:ext cx="6228694" cy="685799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83B7BDD-34F6-6648-9F4C-E52667F15B16}"/>
              </a:ext>
            </a:extLst>
          </p:cNvPr>
          <p:cNvGrpSpPr/>
          <p:nvPr userDrawn="1"/>
        </p:nvGrpSpPr>
        <p:grpSpPr>
          <a:xfrm>
            <a:off x="680658" y="548347"/>
            <a:ext cx="4601989" cy="5741781"/>
            <a:chOff x="1002364" y="142913"/>
            <a:chExt cx="3739116" cy="5741781"/>
          </a:xfrm>
        </p:grpSpPr>
        <p:sp>
          <p:nvSpPr>
            <p:cNvPr id="31" name="Rectangle 2">
              <a:extLst>
                <a:ext uri="{FF2B5EF4-FFF2-40B4-BE49-F238E27FC236}">
                  <a16:creationId xmlns:a16="http://schemas.microsoft.com/office/drawing/2014/main" id="{EEDA74E6-F752-B545-944D-93FF7675575F}"/>
                </a:ext>
              </a:extLst>
            </p:cNvPr>
            <p:cNvSpPr/>
            <p:nvPr/>
          </p:nvSpPr>
          <p:spPr>
            <a:xfrm>
              <a:off x="4459747" y="142913"/>
              <a:ext cx="281733" cy="122379"/>
            </a:xfrm>
            <a:custGeom>
              <a:avLst/>
              <a:gdLst/>
              <a:ahLst/>
              <a:cxnLst/>
              <a:rect l="l" t="t" r="r" b="b"/>
              <a:pathLst>
                <a:path w="386508" h="178593">
                  <a:moveTo>
                    <a:pt x="45719" y="0"/>
                  </a:moveTo>
                  <a:lnTo>
                    <a:pt x="302892" y="0"/>
                  </a:lnTo>
                  <a:lnTo>
                    <a:pt x="374603" y="0"/>
                  </a:lnTo>
                  <a:lnTo>
                    <a:pt x="386508" y="0"/>
                  </a:lnTo>
                  <a:lnTo>
                    <a:pt x="386508" y="178593"/>
                  </a:lnTo>
                  <a:lnTo>
                    <a:pt x="386507" y="178593"/>
                  </a:lnTo>
                  <a:lnTo>
                    <a:pt x="324234" y="178593"/>
                  </a:lnTo>
                  <a:lnTo>
                    <a:pt x="302892" y="178593"/>
                  </a:lnTo>
                  <a:lnTo>
                    <a:pt x="302892" y="85725"/>
                  </a:lnTo>
                  <a:lnTo>
                    <a:pt x="45719" y="857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rgbClr val="881946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indent="-174625" rtl="0"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32" name="Rectangle 2">
              <a:extLst>
                <a:ext uri="{FF2B5EF4-FFF2-40B4-BE49-F238E27FC236}">
                  <a16:creationId xmlns:a16="http://schemas.microsoft.com/office/drawing/2014/main" id="{3C57E902-7CD3-5841-AA9C-1DA8D6E8EE1D}"/>
                </a:ext>
              </a:extLst>
            </p:cNvPr>
            <p:cNvSpPr/>
            <p:nvPr/>
          </p:nvSpPr>
          <p:spPr>
            <a:xfrm rot="10800000">
              <a:off x="1002364" y="5762315"/>
              <a:ext cx="281733" cy="122379"/>
            </a:xfrm>
            <a:custGeom>
              <a:avLst/>
              <a:gdLst/>
              <a:ahLst/>
              <a:cxnLst/>
              <a:rect l="l" t="t" r="r" b="b"/>
              <a:pathLst>
                <a:path w="386508" h="178593">
                  <a:moveTo>
                    <a:pt x="45719" y="0"/>
                  </a:moveTo>
                  <a:lnTo>
                    <a:pt x="302892" y="0"/>
                  </a:lnTo>
                  <a:lnTo>
                    <a:pt x="374603" y="0"/>
                  </a:lnTo>
                  <a:lnTo>
                    <a:pt x="386508" y="0"/>
                  </a:lnTo>
                  <a:lnTo>
                    <a:pt x="386508" y="178593"/>
                  </a:lnTo>
                  <a:lnTo>
                    <a:pt x="386507" y="178593"/>
                  </a:lnTo>
                  <a:lnTo>
                    <a:pt x="324234" y="178593"/>
                  </a:lnTo>
                  <a:lnTo>
                    <a:pt x="302892" y="178593"/>
                  </a:lnTo>
                  <a:lnTo>
                    <a:pt x="302892" y="85725"/>
                  </a:lnTo>
                  <a:lnTo>
                    <a:pt x="45719" y="857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rgbClr val="881946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indent="-174625" rtl="0">
                <a:buFont typeface="Arial" panose="020B0604020202020204" pitchFamily="34" charset="0"/>
                <a:buChar char="•"/>
              </a:pPr>
              <a:endParaRPr lang="en-US" sz="16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</p:grp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B4A1781-A387-4D4E-8C99-4F93C2A874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09126" y="5014800"/>
            <a:ext cx="3545054" cy="190856"/>
          </a:xfrm>
        </p:spPr>
        <p:txBody>
          <a:bodyPr wrap="square" anchor="t">
            <a:noAutofit/>
          </a:bodyPr>
          <a:lstStyle>
            <a:lvl1pPr marL="0" indent="0" algn="ctr" rtl="0">
              <a:buNone/>
              <a:defRPr sz="1600" i="0" cap="none" baseline="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 baseline="0">
                <a:solidFill>
                  <a:schemeClr val="bg1"/>
                </a:solidFill>
              </a:defRPr>
            </a:lvl5pPr>
            <a:lvl6pPr>
              <a:defRPr sz="1600" baseline="0">
                <a:solidFill>
                  <a:schemeClr val="bg1"/>
                </a:solidFill>
              </a:defRPr>
            </a:lvl6pPr>
            <a:lvl7pPr>
              <a:defRPr sz="1600" baseline="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EILEEN MILES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EADDFE3-86E5-144A-BE2D-414353F159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9126" y="1718331"/>
            <a:ext cx="3545054" cy="2769989"/>
          </a:xfrm>
        </p:spPr>
        <p:txBody>
          <a:bodyPr wrap="square" anchor="ctr">
            <a:spAutoFit/>
          </a:bodyPr>
          <a:lstStyle>
            <a:lvl1pPr marL="0" indent="0" algn="ctr" rtl="0">
              <a:buNone/>
              <a:defRPr sz="1800" i="1">
                <a:solidFill>
                  <a:schemeClr val="bg1"/>
                </a:solidFill>
                <a:latin typeface="Lato Light" panose="020F030202020403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 baseline="0">
                <a:solidFill>
                  <a:schemeClr val="bg1"/>
                </a:solidFill>
              </a:defRPr>
            </a:lvl5pPr>
            <a:lvl6pPr>
              <a:defRPr sz="1600" baseline="0">
                <a:solidFill>
                  <a:schemeClr val="bg1"/>
                </a:solidFill>
              </a:defRPr>
            </a:lvl6pPr>
            <a:lvl7pPr>
              <a:defRPr sz="1600" baseline="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 Aenean </a:t>
            </a:r>
            <a:r>
              <a:rPr lang="en-GB" err="1"/>
              <a:t>commodo</a:t>
            </a:r>
            <a:r>
              <a:rPr lang="en-GB"/>
              <a:t> ligula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. Aenean </a:t>
            </a:r>
            <a:r>
              <a:rPr lang="en-GB" err="1"/>
              <a:t>massa</a:t>
            </a:r>
            <a:r>
              <a:rPr lang="en-GB"/>
              <a:t>. Cum sociis </a:t>
            </a:r>
            <a:r>
              <a:rPr lang="en-GB" err="1"/>
              <a:t>natoque</a:t>
            </a:r>
            <a:r>
              <a:rPr lang="en-GB"/>
              <a:t> </a:t>
            </a:r>
            <a:r>
              <a:rPr lang="en-GB" err="1"/>
              <a:t>penatibus</a:t>
            </a:r>
            <a:r>
              <a:rPr lang="en-GB"/>
              <a:t> et </a:t>
            </a:r>
            <a:r>
              <a:rPr lang="en-GB" err="1"/>
              <a:t>magnis</a:t>
            </a:r>
            <a:r>
              <a:rPr lang="en-GB"/>
              <a:t> dis parturient </a:t>
            </a:r>
            <a:r>
              <a:rPr lang="en-GB" err="1"/>
              <a:t>montes</a:t>
            </a:r>
            <a:r>
              <a:rPr lang="en-GB"/>
              <a:t>, </a:t>
            </a:r>
            <a:r>
              <a:rPr lang="en-GB" err="1"/>
              <a:t>nascetur</a:t>
            </a:r>
            <a:r>
              <a:rPr lang="en-GB"/>
              <a:t> </a:t>
            </a:r>
            <a:r>
              <a:rPr lang="en-GB" err="1"/>
              <a:t>ridiculus</a:t>
            </a:r>
            <a:r>
              <a:rPr lang="en-GB"/>
              <a:t> mus. Donec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felis</a:t>
            </a:r>
            <a:r>
              <a:rPr lang="en-GB"/>
              <a:t>, </a:t>
            </a:r>
            <a:r>
              <a:rPr lang="en-GB" err="1"/>
              <a:t>ultricies</a:t>
            </a:r>
            <a:r>
              <a:rPr lang="en-GB"/>
              <a:t> </a:t>
            </a:r>
            <a:r>
              <a:rPr lang="en-GB" err="1"/>
              <a:t>nec</a:t>
            </a:r>
            <a:r>
              <a:rPr lang="en-GB"/>
              <a:t>, </a:t>
            </a:r>
            <a:r>
              <a:rPr lang="en-GB" err="1"/>
              <a:t>pellentesque</a:t>
            </a:r>
            <a:r>
              <a:rPr lang="en-GB"/>
              <a:t> </a:t>
            </a:r>
            <a:r>
              <a:rPr lang="en-GB" err="1"/>
              <a:t>eu</a:t>
            </a:r>
            <a:r>
              <a:rPr lang="en-GB"/>
              <a:t>, </a:t>
            </a:r>
            <a:r>
              <a:rPr lang="en-GB" err="1"/>
              <a:t>pretium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, sem.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 </a:t>
            </a:r>
            <a:r>
              <a:rPr lang="en-GB" err="1"/>
              <a:t>massa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. Donec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C9198001-A4EC-2A48-A1AE-4DF7C6CEA0D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09126" y="5243755"/>
            <a:ext cx="3545054" cy="190856"/>
          </a:xfrm>
        </p:spPr>
        <p:txBody>
          <a:bodyPr wrap="square" anchor="t">
            <a:noAutofit/>
          </a:bodyPr>
          <a:lstStyle>
            <a:lvl1pPr marL="0" indent="0" algn="ctr" rtl="0">
              <a:buNone/>
              <a:defRPr sz="1200" i="1" cap="none" baseline="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 baseline="0">
                <a:solidFill>
                  <a:schemeClr val="bg1"/>
                </a:solidFill>
              </a:defRPr>
            </a:lvl5pPr>
            <a:lvl6pPr>
              <a:defRPr sz="1600" baseline="0">
                <a:solidFill>
                  <a:schemeClr val="bg1"/>
                </a:solidFill>
              </a:defRPr>
            </a:lvl6pPr>
            <a:lvl7pPr>
              <a:defRPr sz="1600" baseline="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Research Lead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67CB83A3-AD5B-4BB0-932E-116EB90EC39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92829" y="1881461"/>
            <a:ext cx="2571262" cy="1254125"/>
          </a:xfrm>
        </p:spPr>
        <p:txBody>
          <a:bodyPr/>
          <a:lstStyle>
            <a:lvl1pPr marL="0" indent="0" rtl="0">
              <a:buNone/>
              <a:defRPr i="1">
                <a:solidFill>
                  <a:srgbClr val="606060"/>
                </a:solidFill>
              </a:defRPr>
            </a:lvl1pPr>
          </a:lstStyle>
          <a:p>
            <a:pPr lvl="0"/>
            <a:r>
              <a:rPr lang="en-GB"/>
              <a:t>This slide requires a photo background. To insert photo overlay, refer to instructions at end of deck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FF79567-1EE4-4D5A-984C-6280F6567B3F}"/>
              </a:ext>
            </a:extLst>
          </p:cNvPr>
          <p:cNvSpPr/>
          <p:nvPr userDrawn="1"/>
        </p:nvSpPr>
        <p:spPr>
          <a:xfrm>
            <a:off x="11562530" y="6359076"/>
            <a:ext cx="629470" cy="498924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E358A37F-6CFB-45E7-B798-5D6A0AB14F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43978" y="6529864"/>
            <a:ext cx="28003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 rtl="0">
              <a:defRPr sz="1000">
                <a:solidFill>
                  <a:schemeClr val="bg1"/>
                </a:solidFill>
                <a:latin typeface="Lato" panose="020F0502020204030203" pitchFamily="34" charset="0"/>
                <a:cs typeface="Arial" pitchFamily="34" charset="0"/>
              </a:defRPr>
            </a:lvl1pPr>
          </a:lstStyle>
          <a:p>
            <a:fld id="{A90607E6-BCED-4FC1-A345-AB2A307AB80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8EBF64F-6F3B-4D96-8937-B23A27CAA67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0621" y="6511926"/>
            <a:ext cx="869730" cy="215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6011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logo Dalberg Advis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73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83" imgH="385" progId="TCLayout.ActiveDocument.1">
                  <p:embed/>
                </p:oleObj>
              </mc:Choice>
              <mc:Fallback>
                <p:oleObj name="Diapositive think-cell" r:id="rId4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b="0" i="0" kern="1200" baseline="0">
              <a:solidFill>
                <a:schemeClr val="tx1"/>
              </a:solidFill>
              <a:latin typeface="Lato"/>
              <a:ea typeface="+mn-ea"/>
              <a:cs typeface="+mn-cs"/>
              <a:sym typeface="Lato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50454C1-5E84-4FD3-9B98-09122C525C97}"/>
              </a:ext>
            </a:extLst>
          </p:cNvPr>
          <p:cNvGrpSpPr/>
          <p:nvPr userDrawn="1"/>
        </p:nvGrpSpPr>
        <p:grpSpPr>
          <a:xfrm>
            <a:off x="9665300" y="6290779"/>
            <a:ext cx="1800454" cy="567219"/>
            <a:chOff x="7853056" y="5820516"/>
            <a:chExt cx="1462869" cy="567219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3BEE20B-956B-4162-ADFA-CD96DC5F3EE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570321" y="5820516"/>
              <a:ext cx="745604" cy="567219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CD556EA-5118-4FF1-90CB-54B403EF04C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53056" y="6037240"/>
              <a:ext cx="706656" cy="215333"/>
            </a:xfrm>
            <a:prstGeom prst="rect">
              <a:avLst/>
            </a:prstGeom>
          </p:spPr>
        </p:pic>
      </p:grpSp>
      <p:sp>
        <p:nvSpPr>
          <p:cNvPr id="13" name="Rectangle 12"/>
          <p:cNvSpPr>
            <a:spLocks/>
          </p:cNvSpPr>
          <p:nvPr userDrawn="1"/>
        </p:nvSpPr>
        <p:spPr>
          <a:xfrm>
            <a:off x="1" y="0"/>
            <a:ext cx="629470" cy="984142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3688" y="91963"/>
            <a:ext cx="10621127" cy="800219"/>
          </a:xfrm>
        </p:spPr>
        <p:txBody>
          <a:bodyPr vert="horz" wrap="square" anchor="ctr">
            <a:spAutoFit/>
          </a:bodyPr>
          <a:lstStyle>
            <a:lvl1pPr rtl="0">
              <a:defRPr sz="2600" baseline="0">
                <a:solidFill>
                  <a:srgbClr val="881946"/>
                </a:solidFill>
                <a:latin typeface="+mj-lt"/>
              </a:defRPr>
            </a:lvl1pPr>
          </a:lstStyle>
          <a:p>
            <a:r>
              <a:rPr lang="en-GB"/>
              <a:t>Title of the slide in </a:t>
            </a:r>
            <a:r>
              <a:rPr lang="en-GB" err="1"/>
              <a:t>Lato</a:t>
            </a:r>
            <a:r>
              <a:rPr lang="en-GB"/>
              <a:t> 26 points.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idx="1" hasCustomPrompt="1"/>
          </p:nvPr>
        </p:nvSpPr>
        <p:spPr bwMode="gray">
          <a:xfrm>
            <a:off x="943689" y="1257300"/>
            <a:ext cx="10621127" cy="50673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>
                <a:solidFill>
                  <a:srgbClr val="606060"/>
                </a:solidFill>
              </a:defRPr>
            </a:lvl1pPr>
            <a:lvl2pPr rtl="0">
              <a:defRPr>
                <a:solidFill>
                  <a:srgbClr val="606060"/>
                </a:solidFill>
              </a:defRPr>
            </a:lvl2pPr>
            <a:lvl3pPr rtl="0">
              <a:defRPr>
                <a:solidFill>
                  <a:srgbClr val="606060"/>
                </a:solidFill>
              </a:defRPr>
            </a:lvl3pPr>
            <a:lvl4pPr rtl="0">
              <a:defRPr>
                <a:solidFill>
                  <a:srgbClr val="606060"/>
                </a:solidFill>
              </a:defRPr>
            </a:lvl4pPr>
            <a:lvl5pPr rtl="0">
              <a:defRPr>
                <a:solidFill>
                  <a:srgbClr val="606060"/>
                </a:solidFill>
              </a:defRPr>
            </a:lvl5pPr>
            <a:lvl6pPr marL="1005812" indent="0">
              <a:buNone/>
              <a:defRPr/>
            </a:lvl6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943689" y="6377706"/>
            <a:ext cx="8059634" cy="307777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000" baseline="0">
                <a:solidFill>
                  <a:srgbClr val="606060"/>
                </a:solidFill>
              </a:defRPr>
            </a:lvl1pPr>
          </a:lstStyle>
          <a:p>
            <a:pPr lvl="0"/>
            <a:r>
              <a:rPr lang="en-GB"/>
              <a:t>This space is reserved for footnotes and sources only, and cannot be expanded beyond its current size.                                        Source: [Author/Publisher Name], [Report Name], [Year]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5EAF43E-BB4E-494E-9B58-0B592AF0D6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276" y="399738"/>
            <a:ext cx="468922" cy="184666"/>
          </a:xfrm>
        </p:spPr>
        <p:txBody>
          <a:bodyPr wrap="square" anchor="ctr">
            <a:spAutoFit/>
          </a:bodyPr>
          <a:lstStyle>
            <a:lvl1pPr marL="0" indent="0" algn="ctr" rtl="0">
              <a:spcAft>
                <a:spcPts val="1200"/>
              </a:spcAft>
              <a:buNone/>
              <a:defRPr sz="12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7DC4302-9EC8-4212-9BF1-0C6EAEDF3D92}"/>
              </a:ext>
            </a:extLst>
          </p:cNvPr>
          <p:cNvSpPr/>
          <p:nvPr userDrawn="1"/>
        </p:nvSpPr>
        <p:spPr>
          <a:xfrm>
            <a:off x="11562530" y="6359076"/>
            <a:ext cx="629470" cy="498924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951255AA-4D51-4A35-B6D9-87E6FA73F9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43978" y="6529864"/>
            <a:ext cx="28003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 rtl="0">
              <a:defRPr sz="1000">
                <a:solidFill>
                  <a:schemeClr val="bg1"/>
                </a:solidFill>
                <a:latin typeface="Lato" panose="020F0502020204030203" pitchFamily="34" charset="0"/>
                <a:cs typeface="Arial" pitchFamily="34" charset="0"/>
              </a:defRPr>
            </a:lvl1pPr>
          </a:lstStyle>
          <a:p>
            <a:fld id="{A90607E6-BCED-4FC1-A345-AB2A307AB80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81286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logo Dalberg Capi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3393183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83" imgH="385" progId="TCLayout.ActiveDocument.1">
                  <p:embed/>
                </p:oleObj>
              </mc:Choice>
              <mc:Fallback>
                <p:oleObj name="Diapositive think-cell" r:id="rId4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b="0" i="0" kern="1200" baseline="0">
              <a:solidFill>
                <a:schemeClr val="tx1"/>
              </a:solidFill>
              <a:latin typeface="Lato"/>
              <a:ea typeface="+mn-ea"/>
              <a:cs typeface="+mn-cs"/>
              <a:sym typeface="Lato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D8EB3BF-DBA3-46ED-A866-7A79A08FE2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5119" y="6456878"/>
            <a:ext cx="1269294" cy="261145"/>
          </a:xfrm>
          <a:prstGeom prst="rect">
            <a:avLst/>
          </a:prstGeom>
        </p:spPr>
      </p:pic>
      <p:sp>
        <p:nvSpPr>
          <p:cNvPr id="13" name="Rectangle 12"/>
          <p:cNvSpPr>
            <a:spLocks/>
          </p:cNvSpPr>
          <p:nvPr userDrawn="1"/>
        </p:nvSpPr>
        <p:spPr>
          <a:xfrm>
            <a:off x="1" y="0"/>
            <a:ext cx="629470" cy="984142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3688" y="91963"/>
            <a:ext cx="10621127" cy="800219"/>
          </a:xfrm>
        </p:spPr>
        <p:txBody>
          <a:bodyPr vert="horz" wrap="square" anchor="ctr">
            <a:spAutoFit/>
          </a:bodyPr>
          <a:lstStyle>
            <a:lvl1pPr rtl="0">
              <a:defRPr sz="2600" baseline="0">
                <a:solidFill>
                  <a:srgbClr val="881946"/>
                </a:solidFill>
                <a:latin typeface="+mj-lt"/>
              </a:defRPr>
            </a:lvl1pPr>
          </a:lstStyle>
          <a:p>
            <a:r>
              <a:rPr lang="en-GB"/>
              <a:t>Title of the slide in </a:t>
            </a:r>
            <a:r>
              <a:rPr lang="en-GB" err="1"/>
              <a:t>Lato</a:t>
            </a:r>
            <a:r>
              <a:rPr lang="en-GB"/>
              <a:t> 26 points.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idx="1" hasCustomPrompt="1"/>
          </p:nvPr>
        </p:nvSpPr>
        <p:spPr bwMode="gray">
          <a:xfrm>
            <a:off x="943689" y="1257300"/>
            <a:ext cx="10621127" cy="50673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>
                <a:solidFill>
                  <a:srgbClr val="606060"/>
                </a:solidFill>
              </a:defRPr>
            </a:lvl1pPr>
            <a:lvl2pPr rtl="0">
              <a:defRPr>
                <a:solidFill>
                  <a:srgbClr val="606060"/>
                </a:solidFill>
              </a:defRPr>
            </a:lvl2pPr>
            <a:lvl3pPr rtl="0">
              <a:defRPr>
                <a:solidFill>
                  <a:srgbClr val="606060"/>
                </a:solidFill>
              </a:defRPr>
            </a:lvl3pPr>
            <a:lvl4pPr rtl="0">
              <a:defRPr>
                <a:solidFill>
                  <a:srgbClr val="606060"/>
                </a:solidFill>
              </a:defRPr>
            </a:lvl4pPr>
            <a:lvl5pPr rtl="0">
              <a:defRPr>
                <a:solidFill>
                  <a:srgbClr val="606060"/>
                </a:solidFill>
              </a:defRPr>
            </a:lvl5pPr>
            <a:lvl6pPr marL="1005812" indent="0">
              <a:buNone/>
              <a:defRPr/>
            </a:lvl6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943689" y="6377706"/>
            <a:ext cx="8059634" cy="307777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000" baseline="0">
                <a:solidFill>
                  <a:srgbClr val="606060"/>
                </a:solidFill>
              </a:defRPr>
            </a:lvl1pPr>
          </a:lstStyle>
          <a:p>
            <a:pPr lvl="0"/>
            <a:r>
              <a:rPr lang="en-GB"/>
              <a:t>This space is reserved for footnotes and sources only, and cannot be expanded beyond its current size.                                        Source: [Author/Publisher Name], [Report Name], [Year]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5EAF43E-BB4E-494E-9B58-0B592AF0D6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276" y="399738"/>
            <a:ext cx="468922" cy="184666"/>
          </a:xfrm>
        </p:spPr>
        <p:txBody>
          <a:bodyPr wrap="square" anchor="ctr">
            <a:spAutoFit/>
          </a:bodyPr>
          <a:lstStyle>
            <a:lvl1pPr marL="0" indent="0" algn="ctr" rtl="0">
              <a:spcAft>
                <a:spcPts val="1200"/>
              </a:spcAft>
              <a:buNone/>
              <a:defRPr sz="12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C25B840-247C-46B9-A810-2B1356249F4A}"/>
              </a:ext>
            </a:extLst>
          </p:cNvPr>
          <p:cNvSpPr/>
          <p:nvPr userDrawn="1"/>
        </p:nvSpPr>
        <p:spPr>
          <a:xfrm>
            <a:off x="11562530" y="6359076"/>
            <a:ext cx="629470" cy="498924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06784F0A-B51F-4CF0-8718-DC453E3A16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43978" y="6529864"/>
            <a:ext cx="28003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 rtl="0">
              <a:defRPr sz="1000">
                <a:solidFill>
                  <a:schemeClr val="bg1"/>
                </a:solidFill>
                <a:latin typeface="Lato" panose="020F0502020204030203" pitchFamily="34" charset="0"/>
                <a:cs typeface="Arial" pitchFamily="34" charset="0"/>
              </a:defRPr>
            </a:lvl1pPr>
          </a:lstStyle>
          <a:p>
            <a:fld id="{A90607E6-BCED-4FC1-A345-AB2A307AB80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F83F538-5C4B-4F45-BF2E-7079D2F0617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5300" y="6507503"/>
            <a:ext cx="869730" cy="215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7786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logo Dalberg Resear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945273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83" imgH="385" progId="TCLayout.ActiveDocument.1">
                  <p:embed/>
                </p:oleObj>
              </mc:Choice>
              <mc:Fallback>
                <p:oleObj name="Diapositive think-cell" r:id="rId4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b="0" i="0" kern="1200" baseline="0">
              <a:solidFill>
                <a:schemeClr val="tx1"/>
              </a:solidFill>
              <a:latin typeface="Lato"/>
              <a:ea typeface="+mn-ea"/>
              <a:cs typeface="+mn-cs"/>
              <a:sym typeface="Lato"/>
            </a:endParaRPr>
          </a:p>
        </p:txBody>
      </p:sp>
      <p:sp>
        <p:nvSpPr>
          <p:cNvPr id="13" name="Rectangle 12"/>
          <p:cNvSpPr>
            <a:spLocks/>
          </p:cNvSpPr>
          <p:nvPr userDrawn="1"/>
        </p:nvSpPr>
        <p:spPr>
          <a:xfrm>
            <a:off x="1" y="0"/>
            <a:ext cx="629470" cy="984142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3688" y="91963"/>
            <a:ext cx="10621127" cy="800219"/>
          </a:xfrm>
        </p:spPr>
        <p:txBody>
          <a:bodyPr vert="horz" wrap="square" anchor="ctr">
            <a:spAutoFit/>
          </a:bodyPr>
          <a:lstStyle>
            <a:lvl1pPr rtl="0">
              <a:defRPr sz="2600" baseline="0">
                <a:solidFill>
                  <a:srgbClr val="881946"/>
                </a:solidFill>
                <a:latin typeface="+mj-lt"/>
              </a:defRPr>
            </a:lvl1pPr>
          </a:lstStyle>
          <a:p>
            <a:r>
              <a:rPr lang="en-GB"/>
              <a:t>Title of the slide in </a:t>
            </a:r>
            <a:r>
              <a:rPr lang="en-GB" err="1"/>
              <a:t>Lato</a:t>
            </a:r>
            <a:r>
              <a:rPr lang="en-GB"/>
              <a:t> 26 points.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idx="1" hasCustomPrompt="1"/>
          </p:nvPr>
        </p:nvSpPr>
        <p:spPr bwMode="gray">
          <a:xfrm>
            <a:off x="943689" y="1257300"/>
            <a:ext cx="10621127" cy="50673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>
                <a:solidFill>
                  <a:srgbClr val="606060"/>
                </a:solidFill>
              </a:defRPr>
            </a:lvl1pPr>
            <a:lvl2pPr rtl="0">
              <a:defRPr>
                <a:solidFill>
                  <a:srgbClr val="606060"/>
                </a:solidFill>
              </a:defRPr>
            </a:lvl2pPr>
            <a:lvl3pPr rtl="0">
              <a:defRPr>
                <a:solidFill>
                  <a:srgbClr val="606060"/>
                </a:solidFill>
              </a:defRPr>
            </a:lvl3pPr>
            <a:lvl4pPr rtl="0">
              <a:defRPr>
                <a:solidFill>
                  <a:srgbClr val="606060"/>
                </a:solidFill>
              </a:defRPr>
            </a:lvl4pPr>
            <a:lvl5pPr rtl="0">
              <a:defRPr>
                <a:solidFill>
                  <a:srgbClr val="606060"/>
                </a:solidFill>
              </a:defRPr>
            </a:lvl5pPr>
            <a:lvl6pPr marL="1005812" indent="0">
              <a:buNone/>
              <a:defRPr/>
            </a:lvl6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943689" y="6377706"/>
            <a:ext cx="8059634" cy="307777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000" baseline="0">
                <a:solidFill>
                  <a:srgbClr val="606060"/>
                </a:solidFill>
              </a:defRPr>
            </a:lvl1pPr>
          </a:lstStyle>
          <a:p>
            <a:pPr lvl="0"/>
            <a:r>
              <a:rPr lang="en-GB"/>
              <a:t>This space is reserved for footnotes and sources only, and cannot be expanded beyond its current size.                                        Source: [Author/Publisher Name], [Report Name], [Year]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5EAF43E-BB4E-494E-9B58-0B592AF0D6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276" y="399738"/>
            <a:ext cx="468922" cy="184666"/>
          </a:xfrm>
        </p:spPr>
        <p:txBody>
          <a:bodyPr wrap="square" anchor="ctr">
            <a:spAutoFit/>
          </a:bodyPr>
          <a:lstStyle>
            <a:lvl1pPr marL="0" indent="0" algn="ctr" rtl="0">
              <a:spcAft>
                <a:spcPts val="1200"/>
              </a:spcAft>
              <a:buNone/>
              <a:defRPr sz="12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CF811DF-866D-40FD-9509-879F9CE9CE8A}"/>
              </a:ext>
            </a:extLst>
          </p:cNvPr>
          <p:cNvSpPr/>
          <p:nvPr userDrawn="1"/>
        </p:nvSpPr>
        <p:spPr>
          <a:xfrm>
            <a:off x="11562530" y="6359076"/>
            <a:ext cx="629470" cy="498924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524D0AE1-BA32-40AD-A8E3-C0F8F35A25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43978" y="6529864"/>
            <a:ext cx="28003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 rtl="0">
              <a:defRPr sz="1000">
                <a:solidFill>
                  <a:schemeClr val="bg1"/>
                </a:solidFill>
                <a:latin typeface="Lato" panose="020F0502020204030203" pitchFamily="34" charset="0"/>
                <a:cs typeface="Arial" pitchFamily="34" charset="0"/>
              </a:defRPr>
            </a:lvl1pPr>
          </a:lstStyle>
          <a:p>
            <a:fld id="{A90607E6-BCED-4FC1-A345-AB2A307AB80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9510C36-796A-4712-9957-5636321C5D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5300" y="6507503"/>
            <a:ext cx="869730" cy="21533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941CACC-9FEF-4B46-A79C-AE2F2A2FADD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5033" y="6455627"/>
            <a:ext cx="1269294" cy="261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074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EE1AA8C-E15D-A44A-9406-A5219CE72065}"/>
              </a:ext>
            </a:extLst>
          </p:cNvPr>
          <p:cNvSpPr/>
          <p:nvPr userDrawn="1"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rgbClr val="918A87">
              <a:alpha val="94902"/>
            </a:srgb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5063519"/>
              </p:ext>
            </p:extLst>
          </p:nvPr>
        </p:nvGraphicFramePr>
        <p:xfrm>
          <a:off x="4" y="3"/>
          <a:ext cx="211668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" y="3"/>
                        <a:ext cx="211668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>
            <a:extLst>
              <a:ext uri="{FF2B5EF4-FFF2-40B4-BE49-F238E27FC236}">
                <a16:creationId xmlns:a16="http://schemas.microsoft.com/office/drawing/2014/main" id="{0FEF2971-18CA-A447-B977-0E8BA063D8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481899" y="3993160"/>
            <a:ext cx="6564923" cy="215444"/>
          </a:xfrm>
        </p:spPr>
        <p:txBody>
          <a:bodyPr wrap="square" lIns="0" tIns="0" rIns="0" bIns="0" anchor="t">
            <a:spAutoFit/>
          </a:bodyPr>
          <a:lstStyle>
            <a:lvl1pPr marL="0" indent="0" algn="l" rtl="0">
              <a:spcAft>
                <a:spcPts val="0"/>
              </a:spcAft>
              <a:buNone/>
              <a:defRPr sz="1400" b="0" cap="all" spc="30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36433" indent="0" algn="ctr">
              <a:buNone/>
              <a:defRPr sz="2300"/>
            </a:lvl2pPr>
            <a:lvl3pPr marL="1072866" indent="0" algn="ctr">
              <a:buNone/>
              <a:defRPr sz="2100"/>
            </a:lvl3pPr>
            <a:lvl4pPr marL="1609298" indent="0" algn="ctr">
              <a:buNone/>
              <a:defRPr sz="1900"/>
            </a:lvl4pPr>
            <a:lvl5pPr marL="2145731" indent="0" algn="ctr">
              <a:buNone/>
              <a:defRPr sz="1900"/>
            </a:lvl5pPr>
            <a:lvl6pPr marL="2682164" indent="0" algn="ctr">
              <a:buNone/>
              <a:defRPr sz="1900"/>
            </a:lvl6pPr>
            <a:lvl7pPr marL="3218597" indent="0" algn="ctr">
              <a:buNone/>
              <a:defRPr sz="1900"/>
            </a:lvl7pPr>
            <a:lvl8pPr marL="3755029" indent="0" algn="ctr">
              <a:buNone/>
              <a:defRPr sz="1900"/>
            </a:lvl8pPr>
            <a:lvl9pPr marL="4291462" indent="0" algn="ctr">
              <a:buNone/>
              <a:defRPr sz="1900"/>
            </a:lvl9pPr>
          </a:lstStyle>
          <a:p>
            <a:r>
              <a:rPr lang="en-GB"/>
              <a:t>Sub-title and dat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21B53F68-7CEB-4F4B-A468-2B1D397F0E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81900" y="2757412"/>
            <a:ext cx="8082916" cy="646331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buFont typeface="Arial" panose="020B0604020202020204" pitchFamily="34" charset="0"/>
              <a:buNone/>
              <a:defRPr sz="4200" b="0" baseline="0">
                <a:solidFill>
                  <a:schemeClr val="bg1"/>
                </a:solidFill>
                <a:latin typeface="Lato Light" panose="020F0302020204030203" pitchFamily="34" charset="0"/>
              </a:defRPr>
            </a:lvl1pPr>
          </a:lstStyle>
          <a:p>
            <a:pPr lvl="0"/>
            <a:r>
              <a:rPr lang="en-GB"/>
              <a:t>Title is </a:t>
            </a:r>
            <a:r>
              <a:rPr lang="en-GB" err="1"/>
              <a:t>Lato</a:t>
            </a:r>
            <a:r>
              <a:rPr lang="en-GB"/>
              <a:t> Light 42 point</a:t>
            </a:r>
          </a:p>
        </p:txBody>
      </p:sp>
      <p:cxnSp>
        <p:nvCxnSpPr>
          <p:cNvPr id="24" name="Line">
            <a:extLst>
              <a:ext uri="{FF2B5EF4-FFF2-40B4-BE49-F238E27FC236}">
                <a16:creationId xmlns:a16="http://schemas.microsoft.com/office/drawing/2014/main" id="{E277333D-8D22-DE4D-BED7-4452956ECF14}"/>
              </a:ext>
            </a:extLst>
          </p:cNvPr>
          <p:cNvCxnSpPr>
            <a:cxnSpLocks/>
          </p:cNvCxnSpPr>
          <p:nvPr userDrawn="1"/>
        </p:nvCxnSpPr>
        <p:spPr>
          <a:xfrm>
            <a:off x="3481899" y="3709468"/>
            <a:ext cx="562708" cy="0"/>
          </a:xfrm>
          <a:prstGeom prst="line">
            <a:avLst/>
          </a:prstGeom>
          <a:ln w="28575">
            <a:solidFill>
              <a:srgbClr val="881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36EC3E5E-8C80-C44A-AD67-64D64758C168}"/>
              </a:ext>
            </a:extLst>
          </p:cNvPr>
          <p:cNvSpPr/>
          <p:nvPr userDrawn="1"/>
        </p:nvSpPr>
        <p:spPr>
          <a:xfrm>
            <a:off x="0" y="1695088"/>
            <a:ext cx="2250831" cy="3474237"/>
          </a:xfrm>
          <a:prstGeom prst="rect">
            <a:avLst/>
          </a:prstGeom>
          <a:solidFill>
            <a:srgbClr val="881946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4625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600" kern="1200">
              <a:solidFill>
                <a:schemeClr val="tx1"/>
              </a:solidFill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DD0874-C429-427A-B983-1D55C4ADA9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09354" y="914401"/>
            <a:ext cx="2571262" cy="1254125"/>
          </a:xfrm>
        </p:spPr>
        <p:txBody>
          <a:bodyPr/>
          <a:lstStyle>
            <a:lvl1pPr marL="0" indent="0" rtl="0">
              <a:buNone/>
              <a:defRPr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o insert photo overlay, refer to instructions at end of deck</a:t>
            </a:r>
          </a:p>
        </p:txBody>
      </p:sp>
      <p:pic>
        <p:nvPicPr>
          <p:cNvPr id="10" name="Picture 9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41F27436-4ABB-4F94-AE8B-8E9E9D60E4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236" y="3121216"/>
            <a:ext cx="1621638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242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2298">
          <p15:clr>
            <a:srgbClr val="FBAE40"/>
          </p15:clr>
        </p15:guide>
        <p15:guide id="4" orient="horz" pos="2432">
          <p15:clr>
            <a:srgbClr val="FBAE40"/>
          </p15:clr>
        </p15:guide>
        <p15:guide id="5" orient="horz" pos="2568">
          <p15:clr>
            <a:srgbClr val="FBAE40"/>
          </p15:clr>
        </p15:guide>
        <p15:guide id="6" orient="horz" pos="2702">
          <p15:clr>
            <a:srgbClr val="FBAE40"/>
          </p15:clr>
        </p15:guide>
        <p15:guide id="7" orient="horz" pos="2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logo Dalberg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9318412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83" imgH="385" progId="TCLayout.ActiveDocument.1">
                  <p:embed/>
                </p:oleObj>
              </mc:Choice>
              <mc:Fallback>
                <p:oleObj name="Diapositive think-cell" r:id="rId4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b="0" i="0" kern="1200" baseline="0">
              <a:solidFill>
                <a:schemeClr val="tx1"/>
              </a:solidFill>
              <a:latin typeface="Lato"/>
              <a:ea typeface="+mn-ea"/>
              <a:cs typeface="+mn-cs"/>
              <a:sym typeface="Lato"/>
            </a:endParaRPr>
          </a:p>
        </p:txBody>
      </p:sp>
      <p:sp>
        <p:nvSpPr>
          <p:cNvPr id="13" name="Rectangle 12"/>
          <p:cNvSpPr>
            <a:spLocks/>
          </p:cNvSpPr>
          <p:nvPr userDrawn="1"/>
        </p:nvSpPr>
        <p:spPr>
          <a:xfrm>
            <a:off x="1" y="0"/>
            <a:ext cx="629470" cy="984142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3688" y="91963"/>
            <a:ext cx="10621127" cy="800219"/>
          </a:xfrm>
        </p:spPr>
        <p:txBody>
          <a:bodyPr vert="horz" wrap="square" anchor="ctr">
            <a:spAutoFit/>
          </a:bodyPr>
          <a:lstStyle>
            <a:lvl1pPr rtl="0">
              <a:defRPr sz="2600" baseline="0">
                <a:solidFill>
                  <a:srgbClr val="881946"/>
                </a:solidFill>
                <a:latin typeface="+mj-lt"/>
              </a:defRPr>
            </a:lvl1pPr>
          </a:lstStyle>
          <a:p>
            <a:r>
              <a:rPr lang="en-GB"/>
              <a:t>Title of the slide in </a:t>
            </a:r>
            <a:r>
              <a:rPr lang="en-GB" err="1"/>
              <a:t>Lato</a:t>
            </a:r>
            <a:r>
              <a:rPr lang="en-GB"/>
              <a:t> 26 points.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idx="1" hasCustomPrompt="1"/>
          </p:nvPr>
        </p:nvSpPr>
        <p:spPr bwMode="gray">
          <a:xfrm>
            <a:off x="943689" y="1257300"/>
            <a:ext cx="10621127" cy="50673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>
                <a:solidFill>
                  <a:srgbClr val="606060"/>
                </a:solidFill>
              </a:defRPr>
            </a:lvl1pPr>
            <a:lvl2pPr rtl="0">
              <a:defRPr>
                <a:solidFill>
                  <a:srgbClr val="606060"/>
                </a:solidFill>
              </a:defRPr>
            </a:lvl2pPr>
            <a:lvl3pPr rtl="0">
              <a:defRPr>
                <a:solidFill>
                  <a:srgbClr val="606060"/>
                </a:solidFill>
              </a:defRPr>
            </a:lvl3pPr>
            <a:lvl4pPr rtl="0">
              <a:defRPr>
                <a:solidFill>
                  <a:srgbClr val="606060"/>
                </a:solidFill>
              </a:defRPr>
            </a:lvl4pPr>
            <a:lvl5pPr rtl="0">
              <a:defRPr>
                <a:solidFill>
                  <a:srgbClr val="606060"/>
                </a:solidFill>
              </a:defRPr>
            </a:lvl5pPr>
            <a:lvl6pPr marL="1005812" indent="0">
              <a:buNone/>
              <a:defRPr/>
            </a:lvl6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943689" y="6377706"/>
            <a:ext cx="8059634" cy="307777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000" baseline="0">
                <a:solidFill>
                  <a:srgbClr val="606060"/>
                </a:solidFill>
              </a:defRPr>
            </a:lvl1pPr>
          </a:lstStyle>
          <a:p>
            <a:pPr lvl="0"/>
            <a:r>
              <a:rPr lang="en-GB"/>
              <a:t>This space is reserved for footnotes and sources only, and cannot be expanded beyond its current size.                                        Source: [Author/Publisher Name], [Report Name], [Year]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5EAF43E-BB4E-494E-9B58-0B592AF0D6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276" y="399738"/>
            <a:ext cx="468922" cy="184666"/>
          </a:xfrm>
        </p:spPr>
        <p:txBody>
          <a:bodyPr wrap="square" anchor="ctr">
            <a:spAutoFit/>
          </a:bodyPr>
          <a:lstStyle>
            <a:lvl1pPr marL="0" indent="0" algn="ctr" rtl="0">
              <a:spcAft>
                <a:spcPts val="1200"/>
              </a:spcAft>
              <a:buNone/>
              <a:defRPr sz="12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5F29BBF-B9B3-45B6-9E97-4D0B2D09B801}"/>
              </a:ext>
            </a:extLst>
          </p:cNvPr>
          <p:cNvSpPr/>
          <p:nvPr userDrawn="1"/>
        </p:nvSpPr>
        <p:spPr>
          <a:xfrm>
            <a:off x="11562530" y="6359076"/>
            <a:ext cx="629470" cy="498924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27C7BEBC-C853-47DF-B7A0-DFDDC0CEDF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43978" y="6529864"/>
            <a:ext cx="28003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 rtl="0">
              <a:defRPr sz="1000">
                <a:solidFill>
                  <a:schemeClr val="bg1"/>
                </a:solidFill>
                <a:latin typeface="Lato" panose="020F0502020204030203" pitchFamily="34" charset="0"/>
                <a:cs typeface="Arial" pitchFamily="34" charset="0"/>
              </a:defRPr>
            </a:lvl1pPr>
          </a:lstStyle>
          <a:p>
            <a:fld id="{A90607E6-BCED-4FC1-A345-AB2A307AB80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B6419F5-6E67-4D15-BC49-CF334EB11A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5300" y="6507503"/>
            <a:ext cx="869730" cy="21533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BD06AFE-5395-4D04-A95E-7EC763D91A3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5938" y="6447440"/>
            <a:ext cx="1269294" cy="261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0470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logo Dalberg Data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140063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83" imgH="385" progId="TCLayout.ActiveDocument.1">
                  <p:embed/>
                </p:oleObj>
              </mc:Choice>
              <mc:Fallback>
                <p:oleObj name="Diapositive think-cell" r:id="rId4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b="0" i="0" kern="1200" baseline="0">
              <a:solidFill>
                <a:schemeClr val="tx1"/>
              </a:solidFill>
              <a:latin typeface="Lato"/>
              <a:ea typeface="+mn-ea"/>
              <a:cs typeface="+mn-cs"/>
              <a:sym typeface="Lato"/>
            </a:endParaRPr>
          </a:p>
        </p:txBody>
      </p:sp>
      <p:sp>
        <p:nvSpPr>
          <p:cNvPr id="13" name="Rectangle 12"/>
          <p:cNvSpPr>
            <a:spLocks/>
          </p:cNvSpPr>
          <p:nvPr userDrawn="1"/>
        </p:nvSpPr>
        <p:spPr>
          <a:xfrm>
            <a:off x="1" y="0"/>
            <a:ext cx="629470" cy="984142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3688" y="91963"/>
            <a:ext cx="10621127" cy="800219"/>
          </a:xfrm>
        </p:spPr>
        <p:txBody>
          <a:bodyPr vert="horz" wrap="square" anchor="ctr">
            <a:spAutoFit/>
          </a:bodyPr>
          <a:lstStyle>
            <a:lvl1pPr rtl="0">
              <a:defRPr sz="2600" baseline="0">
                <a:solidFill>
                  <a:srgbClr val="881946"/>
                </a:solidFill>
                <a:latin typeface="+mj-lt"/>
              </a:defRPr>
            </a:lvl1pPr>
          </a:lstStyle>
          <a:p>
            <a:r>
              <a:rPr lang="en-GB"/>
              <a:t>Title of the slide in </a:t>
            </a:r>
            <a:r>
              <a:rPr lang="en-GB" err="1"/>
              <a:t>Lato</a:t>
            </a:r>
            <a:r>
              <a:rPr lang="en-GB"/>
              <a:t> 26 points.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idx="1" hasCustomPrompt="1"/>
          </p:nvPr>
        </p:nvSpPr>
        <p:spPr bwMode="gray">
          <a:xfrm>
            <a:off x="943689" y="1257300"/>
            <a:ext cx="10621127" cy="50673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>
                <a:solidFill>
                  <a:srgbClr val="606060"/>
                </a:solidFill>
              </a:defRPr>
            </a:lvl1pPr>
            <a:lvl2pPr rtl="0">
              <a:defRPr>
                <a:solidFill>
                  <a:srgbClr val="606060"/>
                </a:solidFill>
              </a:defRPr>
            </a:lvl2pPr>
            <a:lvl3pPr rtl="0">
              <a:defRPr>
                <a:solidFill>
                  <a:srgbClr val="606060"/>
                </a:solidFill>
              </a:defRPr>
            </a:lvl3pPr>
            <a:lvl4pPr rtl="0">
              <a:defRPr>
                <a:solidFill>
                  <a:srgbClr val="606060"/>
                </a:solidFill>
              </a:defRPr>
            </a:lvl4pPr>
            <a:lvl5pPr rtl="0">
              <a:defRPr>
                <a:solidFill>
                  <a:srgbClr val="606060"/>
                </a:solidFill>
              </a:defRPr>
            </a:lvl5pPr>
            <a:lvl6pPr marL="1005812" indent="0">
              <a:buNone/>
              <a:defRPr/>
            </a:lvl6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943689" y="6377706"/>
            <a:ext cx="8059634" cy="307777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000" baseline="0">
                <a:solidFill>
                  <a:srgbClr val="606060"/>
                </a:solidFill>
              </a:defRPr>
            </a:lvl1pPr>
          </a:lstStyle>
          <a:p>
            <a:pPr lvl="0"/>
            <a:r>
              <a:rPr lang="en-GB"/>
              <a:t>This space is reserved for footnotes and sources only, and cannot be expanded beyond its current size.                                        Source: [Author/Publisher Name], [Report Name], [Year]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5EAF43E-BB4E-494E-9B58-0B592AF0D6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276" y="399738"/>
            <a:ext cx="468922" cy="184666"/>
          </a:xfrm>
        </p:spPr>
        <p:txBody>
          <a:bodyPr wrap="square" anchor="ctr">
            <a:spAutoFit/>
          </a:bodyPr>
          <a:lstStyle>
            <a:lvl1pPr marL="0" indent="0" algn="ctr" rtl="0">
              <a:spcAft>
                <a:spcPts val="1200"/>
              </a:spcAft>
              <a:buNone/>
              <a:defRPr sz="12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DC41D73-5F20-491E-B3B1-EE07354BFEAF}"/>
              </a:ext>
            </a:extLst>
          </p:cNvPr>
          <p:cNvSpPr/>
          <p:nvPr userDrawn="1"/>
        </p:nvSpPr>
        <p:spPr>
          <a:xfrm>
            <a:off x="11562530" y="6359076"/>
            <a:ext cx="629470" cy="498924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93535754-8FEB-4D94-B1EB-415CFA4DA1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43978" y="6529864"/>
            <a:ext cx="28003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 rtl="0">
              <a:defRPr sz="1000">
                <a:solidFill>
                  <a:schemeClr val="bg1"/>
                </a:solidFill>
                <a:latin typeface="Lato" panose="020F0502020204030203" pitchFamily="34" charset="0"/>
                <a:cs typeface="Arial" pitchFamily="34" charset="0"/>
              </a:defRPr>
            </a:lvl1pPr>
          </a:lstStyle>
          <a:p>
            <a:fld id="{A90607E6-BCED-4FC1-A345-AB2A307AB80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2BA62BE-5316-48CD-A4E1-BCF89D85944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8315" y="6460171"/>
            <a:ext cx="1288886" cy="26517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9883C86-B7BF-4306-A63D-3F1E4592C2E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3749" y="6507503"/>
            <a:ext cx="869730" cy="215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4685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logo multiple busines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814684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83" imgH="385" progId="TCLayout.ActiveDocument.1">
                  <p:embed/>
                </p:oleObj>
              </mc:Choice>
              <mc:Fallback>
                <p:oleObj name="Diapositive think-cell" r:id="rId4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b="0" i="0" kern="1200" baseline="0">
              <a:solidFill>
                <a:schemeClr val="tx1"/>
              </a:solidFill>
              <a:latin typeface="Lato"/>
              <a:ea typeface="+mn-ea"/>
              <a:cs typeface="+mn-cs"/>
              <a:sym typeface="Lato"/>
            </a:endParaRPr>
          </a:p>
        </p:txBody>
      </p:sp>
      <p:sp>
        <p:nvSpPr>
          <p:cNvPr id="13" name="Rectangle 12"/>
          <p:cNvSpPr>
            <a:spLocks/>
          </p:cNvSpPr>
          <p:nvPr userDrawn="1"/>
        </p:nvSpPr>
        <p:spPr>
          <a:xfrm>
            <a:off x="1" y="0"/>
            <a:ext cx="629470" cy="984142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3688" y="91963"/>
            <a:ext cx="10621127" cy="800219"/>
          </a:xfrm>
        </p:spPr>
        <p:txBody>
          <a:bodyPr vert="horz" wrap="square" anchor="ctr">
            <a:spAutoFit/>
          </a:bodyPr>
          <a:lstStyle>
            <a:lvl1pPr rtl="0">
              <a:defRPr sz="2600" baseline="0">
                <a:solidFill>
                  <a:srgbClr val="881946"/>
                </a:solidFill>
                <a:latin typeface="+mj-lt"/>
              </a:defRPr>
            </a:lvl1pPr>
          </a:lstStyle>
          <a:p>
            <a:r>
              <a:rPr lang="en-GB"/>
              <a:t>Title of the slide in </a:t>
            </a:r>
            <a:r>
              <a:rPr lang="en-GB" err="1"/>
              <a:t>Lato</a:t>
            </a:r>
            <a:r>
              <a:rPr lang="en-GB"/>
              <a:t> 26 points.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idx="1" hasCustomPrompt="1"/>
          </p:nvPr>
        </p:nvSpPr>
        <p:spPr bwMode="gray">
          <a:xfrm>
            <a:off x="943689" y="1257300"/>
            <a:ext cx="10621127" cy="50673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>
                <a:solidFill>
                  <a:srgbClr val="606060"/>
                </a:solidFill>
              </a:defRPr>
            </a:lvl1pPr>
            <a:lvl2pPr rtl="0">
              <a:defRPr>
                <a:solidFill>
                  <a:srgbClr val="606060"/>
                </a:solidFill>
              </a:defRPr>
            </a:lvl2pPr>
            <a:lvl3pPr rtl="0">
              <a:defRPr>
                <a:solidFill>
                  <a:srgbClr val="606060"/>
                </a:solidFill>
              </a:defRPr>
            </a:lvl3pPr>
            <a:lvl4pPr rtl="0">
              <a:defRPr>
                <a:solidFill>
                  <a:srgbClr val="606060"/>
                </a:solidFill>
              </a:defRPr>
            </a:lvl4pPr>
            <a:lvl5pPr rtl="0">
              <a:defRPr>
                <a:solidFill>
                  <a:srgbClr val="606060"/>
                </a:solidFill>
              </a:defRPr>
            </a:lvl5pPr>
            <a:lvl6pPr marL="1005812" indent="0">
              <a:buNone/>
              <a:defRPr/>
            </a:lvl6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943689" y="6377706"/>
            <a:ext cx="8059634" cy="307777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000" baseline="0">
                <a:solidFill>
                  <a:srgbClr val="606060"/>
                </a:solidFill>
              </a:defRPr>
            </a:lvl1pPr>
          </a:lstStyle>
          <a:p>
            <a:pPr lvl="0"/>
            <a:r>
              <a:rPr lang="en-GB"/>
              <a:t>This space is reserved for footnotes and sources only, and cannot be expanded beyond its current size.                                        Source: [Author/Publisher Name], [Report Name], [Year]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5EAF43E-BB4E-494E-9B58-0B592AF0D6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276" y="399738"/>
            <a:ext cx="468922" cy="184666"/>
          </a:xfrm>
        </p:spPr>
        <p:txBody>
          <a:bodyPr wrap="square" anchor="ctr">
            <a:spAutoFit/>
          </a:bodyPr>
          <a:lstStyle>
            <a:lvl1pPr marL="0" indent="0" algn="ctr" rtl="0">
              <a:spcAft>
                <a:spcPts val="1200"/>
              </a:spcAft>
              <a:buNone/>
              <a:defRPr sz="12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6C153EB-B36B-45C2-80ED-5524ED0D0C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70631" y="5442858"/>
            <a:ext cx="2977662" cy="654731"/>
          </a:xfrm>
          <a:prstGeom prst="wedgeRectCallout">
            <a:avLst>
              <a:gd name="adj1" fmla="val 21162"/>
              <a:gd name="adj2" fmla="val 67720"/>
            </a:avLst>
          </a:prstGeom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GB"/>
              <a:t>Delete businesses as necessary in the Master View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6686D21-98D8-4B5B-9B3A-591B1F5A25D8}"/>
              </a:ext>
            </a:extLst>
          </p:cNvPr>
          <p:cNvSpPr/>
          <p:nvPr userDrawn="1"/>
        </p:nvSpPr>
        <p:spPr>
          <a:xfrm>
            <a:off x="11562530" y="6359076"/>
            <a:ext cx="629470" cy="498924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62FDD2AD-A616-49CB-8A60-3B2D6CDB1C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43978" y="6529864"/>
            <a:ext cx="28003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 rtl="0">
              <a:defRPr sz="1000">
                <a:solidFill>
                  <a:schemeClr val="bg1"/>
                </a:solidFill>
                <a:latin typeface="Lato" panose="020F0502020204030203" pitchFamily="34" charset="0"/>
                <a:cs typeface="Arial" pitchFamily="34" charset="0"/>
              </a:defRPr>
            </a:lvl1pPr>
          </a:lstStyle>
          <a:p>
            <a:fld id="{A90607E6-BCED-4FC1-A345-AB2A307AB80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9B500E6-5416-43D7-943C-C9BC3F6B438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3749" y="6507503"/>
            <a:ext cx="869730" cy="21533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53ACCE3-609A-47F3-98DE-1C56C2B1FE0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3623" y="7011746"/>
            <a:ext cx="829569" cy="17067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FEAD2FC-5085-40E5-AC7E-E1D6E870F16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3623" y="6636755"/>
            <a:ext cx="829569" cy="17067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7B7EC248-B0DF-49A5-BA2E-9341A743AB2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3623" y="6519172"/>
            <a:ext cx="829569" cy="17067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2DAEB2F2-56DC-4617-891C-4D887114552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3623" y="6894380"/>
            <a:ext cx="829569" cy="17067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1CD424B-BFB2-4574-9CCC-CCC405C7FE8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3623" y="6401589"/>
            <a:ext cx="829569" cy="170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8236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554F45D-11BF-46FD-92FF-F8EA829DA8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7811067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416" imgH="416" progId="TCLayout.ActiveDocument.1">
                  <p:embed/>
                </p:oleObj>
              </mc:Choice>
              <mc:Fallback>
                <p:oleObj name="Diapositive think-cell" r:id="rId5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554F45D-11BF-46FD-92FF-F8EA829DA8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183" y="405517"/>
            <a:ext cx="11083636" cy="338554"/>
          </a:xfrm>
          <a:prstGeom prst="rect">
            <a:avLst/>
          </a:prstGeom>
        </p:spPr>
        <p:txBody>
          <a:bodyPr vert="horz" lIns="0" tIns="0" rIns="0" bIns="0" anchor="b"/>
          <a:lstStyle>
            <a:lvl1pPr algn="l" rtl="0">
              <a:defRPr sz="2200" b="1" cap="none" baseline="0"/>
            </a:lvl1pPr>
          </a:lstStyle>
          <a:p>
            <a:r>
              <a:rPr lang="en-GB"/>
              <a:t>Click to edit Master slide 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91"/>
            <a:ext cx="10052425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 rtl="0">
              <a:buNone/>
              <a:defRPr sz="1000"/>
            </a:lvl1pPr>
          </a:lstStyle>
          <a:p>
            <a:r>
              <a:rPr lang="en-GB"/>
              <a:t>Click to edit Master footer. This space is reserved for footnotes and sources only, and cannot be expanded beyond its current size. Text should </a:t>
            </a:r>
            <a:br>
              <a:rPr lang="en-GB"/>
            </a:br>
            <a:r>
              <a:rPr lang="en-GB"/>
              <a:t>never cover the ‘Dalberg #’ in the bottom right., but the bottom line of text can extend under it if necessary.  SOURCE::</a:t>
            </a:r>
            <a:r>
              <a:rPr lang="en-GB" err="1"/>
              <a:t>xxxxxxxxxxxxxxxxxxxxxxxx</a:t>
            </a:r>
            <a:endParaRPr lang="en-GB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244" y="1008531"/>
            <a:ext cx="11066697" cy="5325595"/>
          </a:xfrm>
          <a:prstGeom prst="rect">
            <a:avLst/>
          </a:prstGeom>
        </p:spPr>
        <p:txBody>
          <a:bodyPr lIns="0" tIns="0" rIns="0" bIns="0"/>
          <a:lstStyle>
            <a:lvl1pPr marL="173038" indent="-173038" rtl="0">
              <a:defRPr sz="1400"/>
            </a:lvl1pPr>
            <a:lvl2pPr marL="347663" indent="-174625" rtl="0">
              <a:defRPr sz="1200"/>
            </a:lvl2pPr>
            <a:lvl3pPr marL="509588" indent="-161925" rtl="0">
              <a:defRPr sz="1200"/>
            </a:lvl3pPr>
            <a:lvl4pPr marL="682625" indent="-173038" rtl="0">
              <a:defRPr sz="1200"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856959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2257253"/>
              </p:ext>
            </p:extLst>
          </p:nvPr>
        </p:nvGraphicFramePr>
        <p:xfrm>
          <a:off x="2" y="0"/>
          <a:ext cx="19242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242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183" y="405517"/>
            <a:ext cx="11083636" cy="338554"/>
          </a:xfrm>
          <a:prstGeom prst="rect">
            <a:avLst/>
          </a:prstGeom>
        </p:spPr>
        <p:txBody>
          <a:bodyPr vert="horz" lIns="0" tIns="0" rIns="0" bIns="0" anchor="b"/>
          <a:lstStyle>
            <a:lvl1pPr algn="l" rtl="0">
              <a:defRPr sz="2200" b="1" cap="none" baseline="0"/>
            </a:lvl1pPr>
          </a:lstStyle>
          <a:p>
            <a:r>
              <a:rPr lang="en-GB"/>
              <a:t>Click to edit Master slide titl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660075" y="5672557"/>
            <a:ext cx="6982651" cy="660976"/>
          </a:xfrm>
          <a:prstGeom prst="roundRect">
            <a:avLst/>
          </a:prstGeom>
          <a:noFill/>
          <a:ln w="19050">
            <a:solidFill>
              <a:schemeClr val="tx2"/>
            </a:solidFill>
          </a:ln>
        </p:spPr>
        <p:txBody>
          <a:bodyPr lIns="82058" tIns="82058" rIns="82058" bIns="82058" anchor="ctr"/>
          <a:lstStyle>
            <a:lvl1pPr marL="0" indent="0" algn="ctr" rtl="0">
              <a:buNone/>
              <a:defRPr sz="1400" b="1" baseline="0"/>
            </a:lvl1pPr>
          </a:lstStyle>
          <a:p>
            <a:pPr lvl="0"/>
            <a:r>
              <a:rPr lang="en-GB"/>
              <a:t>Click to edit Master takeaway/transition. DO NOT SIMPLY RESTATE TITLE OR SUBTITLE. Box always rests on bottom margin.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244" y="1008534"/>
            <a:ext cx="11066697" cy="4523567"/>
          </a:xfrm>
          <a:prstGeom prst="rect">
            <a:avLst/>
          </a:prstGeom>
        </p:spPr>
        <p:txBody>
          <a:bodyPr lIns="0" tIns="0" rIns="0" bIns="0"/>
          <a:lstStyle>
            <a:lvl1pPr marL="173038" indent="-173038" rtl="0">
              <a:defRPr sz="1400"/>
            </a:lvl1pPr>
            <a:lvl2pPr marL="347663" indent="-174625" rtl="0">
              <a:defRPr sz="1200"/>
            </a:lvl2pPr>
            <a:lvl3pPr marL="509588" indent="-161925" rtl="0">
              <a:defRPr sz="1200"/>
            </a:lvl3pPr>
            <a:lvl4pPr marL="682625" indent="-173038" rtl="0">
              <a:defRPr sz="1200"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91"/>
            <a:ext cx="10052425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 rtl="0">
              <a:buNone/>
              <a:defRPr sz="1000"/>
            </a:lvl1pPr>
          </a:lstStyle>
          <a:p>
            <a:r>
              <a:rPr lang="en-GB"/>
              <a:t>Click to edit Master footer. This space is reserved for footnotes and sources only, and cannot be expanded beyond its current size. Text should </a:t>
            </a:r>
            <a:br>
              <a:rPr lang="en-GB"/>
            </a:br>
            <a:r>
              <a:rPr lang="en-GB"/>
              <a:t>never cover the ‘Dalberg #’ in the bottom right., but the bottom line of text can extend under it if necessary.  SOURCE::</a:t>
            </a:r>
            <a:r>
              <a:rPr lang="en-GB" err="1"/>
              <a:t>xxxxxxxxxxxxxxxxxxxxxxxx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46159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4127310"/>
              </p:ext>
            </p:extLst>
          </p:nvPr>
        </p:nvGraphicFramePr>
        <p:xfrm>
          <a:off x="3" y="0"/>
          <a:ext cx="19242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9242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183" y="405517"/>
            <a:ext cx="11083636" cy="338554"/>
          </a:xfrm>
          <a:prstGeom prst="rect">
            <a:avLst/>
          </a:prstGeom>
        </p:spPr>
        <p:txBody>
          <a:bodyPr vert="horz" lIns="0" tIns="0" rIns="0" bIns="0" anchor="b"/>
          <a:lstStyle>
            <a:lvl1pPr algn="l" rtl="0">
              <a:defRPr sz="2200" b="1" cap="none" baseline="0"/>
            </a:lvl1pPr>
          </a:lstStyle>
          <a:p>
            <a:r>
              <a:rPr lang="en-GB"/>
              <a:t>Click to edit Master slide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91"/>
            <a:ext cx="10052425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 rtl="0">
              <a:buNone/>
              <a:defRPr sz="1000"/>
            </a:lvl1pPr>
          </a:lstStyle>
          <a:p>
            <a:r>
              <a:rPr lang="en-GB"/>
              <a:t>Click to edit Master footer. This space is reserved for footnotes and sources only, and cannot be expanded beyond its current size. Text should </a:t>
            </a:r>
            <a:br>
              <a:rPr lang="en-GB"/>
            </a:br>
            <a:r>
              <a:rPr lang="en-GB"/>
              <a:t>never cover the ‘Dalberg #’ in the bottom right., but the bottom line of text can extend under it if necessary.  SOURCE::</a:t>
            </a:r>
            <a:r>
              <a:rPr lang="en-GB" err="1"/>
              <a:t>xxxxxxxxxxxxxxxxxxxxxxxx</a:t>
            </a:r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244" y="1008531"/>
            <a:ext cx="11066697" cy="5325595"/>
          </a:xfrm>
          <a:prstGeom prst="rect">
            <a:avLst/>
          </a:prstGeom>
        </p:spPr>
        <p:txBody>
          <a:bodyPr lIns="0" tIns="0" rIns="0" bIns="0"/>
          <a:lstStyle>
            <a:lvl1pPr marL="173038" indent="-173038" rtl="0">
              <a:defRPr sz="1400"/>
            </a:lvl1pPr>
            <a:lvl2pPr marL="347663" indent="-174625" rtl="0">
              <a:defRPr sz="1200"/>
            </a:lvl2pPr>
            <a:lvl3pPr marL="509588" indent="-161925" rtl="0">
              <a:defRPr sz="1200"/>
            </a:lvl3pPr>
            <a:lvl4pPr marL="682625" indent="-173038" rtl="0">
              <a:defRPr sz="1200"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19785074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726409"/>
              </p:ext>
            </p:extLst>
          </p:nvPr>
        </p:nvGraphicFramePr>
        <p:xfrm>
          <a:off x="2" y="0"/>
          <a:ext cx="19242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242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183" y="405517"/>
            <a:ext cx="11083636" cy="338554"/>
          </a:xfrm>
          <a:prstGeom prst="rect">
            <a:avLst/>
          </a:prstGeom>
        </p:spPr>
        <p:txBody>
          <a:bodyPr vert="horz" lIns="0" tIns="0" rIns="0" bIns="0" anchor="b"/>
          <a:lstStyle>
            <a:lvl1pPr algn="l" rtl="0">
              <a:defRPr sz="2200" b="1" cap="none" baseline="0"/>
            </a:lvl1pPr>
          </a:lstStyle>
          <a:p>
            <a:r>
              <a:rPr lang="en-GB"/>
              <a:t>Click to edit Master slide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554567" y="1008067"/>
            <a:ext cx="11083636" cy="177919"/>
          </a:xfrm>
          <a:prstGeom prst="rect">
            <a:avLst/>
          </a:prstGeom>
        </p:spPr>
        <p:txBody>
          <a:bodyPr lIns="0" tIns="0" rIns="0" bIns="0"/>
          <a:lstStyle>
            <a:lvl1pPr marL="0" indent="0" rtl="0">
              <a:buNone/>
              <a:defRPr sz="1400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insert Master slide subtitle – a subtitle is rarely used and NEVER appears with a takeaway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244" y="1330703"/>
            <a:ext cx="11066697" cy="4972001"/>
          </a:xfrm>
          <a:prstGeom prst="rect">
            <a:avLst/>
          </a:prstGeom>
        </p:spPr>
        <p:txBody>
          <a:bodyPr lIns="0" tIns="0" rIns="0" bIns="0"/>
          <a:lstStyle>
            <a:lvl1pPr marL="173038" indent="-173038" rtl="0">
              <a:defRPr/>
            </a:lvl1pPr>
            <a:lvl2pPr marL="347663" indent="-174625" rtl="0">
              <a:defRPr sz="1200"/>
            </a:lvl2pPr>
            <a:lvl3pPr marL="509588" indent="-161925" rtl="0">
              <a:defRPr sz="1200"/>
            </a:lvl3pPr>
            <a:lvl4pPr marL="682625" indent="-173038" rtl="0">
              <a:defRPr sz="1200"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91"/>
            <a:ext cx="10052425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 rtl="0">
              <a:buNone/>
              <a:defRPr sz="1000"/>
            </a:lvl1pPr>
          </a:lstStyle>
          <a:p>
            <a:r>
              <a:rPr lang="en-GB"/>
              <a:t>Click to edit Master footer. This space is reserved for footnotes and sources only, and cannot be expanded beyond its current size. Text should </a:t>
            </a:r>
            <a:br>
              <a:rPr lang="en-GB"/>
            </a:br>
            <a:r>
              <a:rPr lang="en-GB"/>
              <a:t>never cover the ‘Dalberg #’ in the bottom right., but the bottom line of text can extend under it if necessary.  SOURCE::</a:t>
            </a:r>
            <a:r>
              <a:rPr lang="en-GB" err="1"/>
              <a:t>xxxxxxxxxxxxxxxxxxxxxxxx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83192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9223750"/>
              </p:ext>
            </p:extLst>
          </p:nvPr>
        </p:nvGraphicFramePr>
        <p:xfrm>
          <a:off x="3" y="0"/>
          <a:ext cx="19242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270" imgH="270" progId="TCLayout.ActiveDocument.1">
                  <p:embed/>
                </p:oleObj>
              </mc:Choice>
              <mc:Fallback>
                <p:oleObj name="Diapositive think-cell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9242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405517"/>
            <a:ext cx="11083636" cy="338554"/>
          </a:xfrm>
          <a:prstGeom prst="rect">
            <a:avLst/>
          </a:prstGeom>
        </p:spPr>
        <p:txBody>
          <a:bodyPr vert="horz" lIns="0" tIns="0" rIns="0" bIns="0" anchor="b"/>
          <a:lstStyle>
            <a:lvl1pPr algn="l" rtl="0">
              <a:defRPr sz="2200" b="1" cap="none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/>
              <a:t>Click to edit Master slide tit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44431" y="1008531"/>
            <a:ext cx="11066047" cy="5325595"/>
          </a:xfrm>
          <a:prstGeom prst="rect">
            <a:avLst/>
          </a:prstGeom>
        </p:spPr>
        <p:txBody>
          <a:bodyPr lIns="0" tIns="0" rIns="0" bIns="0"/>
          <a:lstStyle>
            <a:lvl1pPr marL="173038" indent="-173038" rtl="0">
              <a:defRPr sz="1400"/>
            </a:lvl1pPr>
            <a:lvl2pPr marL="347663" indent="-174625" rtl="0">
              <a:defRPr sz="1200"/>
            </a:lvl2pPr>
            <a:lvl3pPr marL="509588" indent="-161925" rtl="0">
              <a:defRPr sz="1200"/>
            </a:lvl3pPr>
            <a:lvl4pPr marL="682625" indent="-173038" rtl="0">
              <a:defRPr sz="1200"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4814507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-Column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7404910"/>
              </p:ext>
            </p:extLst>
          </p:nvPr>
        </p:nvGraphicFramePr>
        <p:xfrm>
          <a:off x="2" y="0"/>
          <a:ext cx="19242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0" imgW="360" imgH="360" progId="TCLayout.ActiveDocument.1">
                  <p:embed/>
                </p:oleObj>
              </mc:Choice>
              <mc:Fallback>
                <p:oleObj name="Diapositive think-cell" r:id="rId10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242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183" y="405517"/>
            <a:ext cx="11083636" cy="338554"/>
          </a:xfrm>
          <a:prstGeom prst="rect">
            <a:avLst/>
          </a:prstGeom>
        </p:spPr>
        <p:txBody>
          <a:bodyPr vert="horz" lIns="0" tIns="0" rIns="0" bIns="0" anchor="b"/>
          <a:lstStyle>
            <a:lvl1pPr algn="l" rtl="0">
              <a:defRPr sz="2200" b="1" cap="none" baseline="0"/>
            </a:lvl1pPr>
          </a:lstStyle>
          <a:p>
            <a:r>
              <a:rPr lang="en-GB"/>
              <a:t>Click to edit Master slide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0" hasCustomPrompt="1"/>
            <p:custDataLst>
              <p:tags r:id="rId3"/>
            </p:custDataLst>
          </p:nvPr>
        </p:nvSpPr>
        <p:spPr>
          <a:xfrm>
            <a:off x="775917" y="1008560"/>
            <a:ext cx="2216703" cy="699187"/>
          </a:xfrm>
          <a:prstGeom prst="homePlate">
            <a:avLst>
              <a:gd name="adj" fmla="val 17178"/>
            </a:avLst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 rtl="0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text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1" hasCustomPrompt="1"/>
            <p:custDataLst>
              <p:tags r:id="rId4"/>
            </p:custDataLst>
          </p:nvPr>
        </p:nvSpPr>
        <p:spPr>
          <a:xfrm>
            <a:off x="2881723" y="1008560"/>
            <a:ext cx="2216764" cy="699187"/>
          </a:xfrm>
          <a:prstGeom prst="chevron">
            <a:avLst>
              <a:gd name="adj" fmla="val 19003"/>
            </a:avLst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 rtl="0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text</a:t>
            </a:r>
          </a:p>
        </p:txBody>
      </p:sp>
      <p:sp>
        <p:nvSpPr>
          <p:cNvPr id="38" name="Text Placeholder 17"/>
          <p:cNvSpPr>
            <a:spLocks noGrp="1"/>
          </p:cNvSpPr>
          <p:nvPr>
            <p:ph type="body" sz="quarter" idx="56" hasCustomPrompt="1"/>
            <p:custDataLst>
              <p:tags r:id="rId5"/>
            </p:custDataLst>
          </p:nvPr>
        </p:nvSpPr>
        <p:spPr>
          <a:xfrm>
            <a:off x="4987591" y="1008560"/>
            <a:ext cx="2216764" cy="699187"/>
          </a:xfrm>
          <a:prstGeom prst="chevron">
            <a:avLst>
              <a:gd name="adj" fmla="val 19003"/>
            </a:avLst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 rtl="0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text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775914" y="1815370"/>
            <a:ext cx="1995034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 rtl="0">
              <a:defRPr/>
            </a:lvl1pPr>
            <a:lvl2pPr marL="347663" indent="-174625" rtl="0">
              <a:defRPr sz="1200"/>
            </a:lvl2pPr>
            <a:lvl3pPr marL="509588" indent="-161925" rtl="0">
              <a:defRPr sz="1200"/>
            </a:lvl3pPr>
            <a:lvl4pPr marL="682625" indent="-173038" rtl="0">
              <a:defRPr sz="1200"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63" hasCustomPrompt="1"/>
            <p:custDataLst>
              <p:tags r:id="rId7"/>
            </p:custDataLst>
          </p:nvPr>
        </p:nvSpPr>
        <p:spPr>
          <a:xfrm>
            <a:off x="7093459" y="1008533"/>
            <a:ext cx="2216764" cy="699187"/>
          </a:xfrm>
          <a:prstGeom prst="chevron">
            <a:avLst>
              <a:gd name="adj" fmla="val 19003"/>
            </a:avLst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 rtl="0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text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64" hasCustomPrompt="1"/>
            <p:custDataLst>
              <p:tags r:id="rId8"/>
            </p:custDataLst>
          </p:nvPr>
        </p:nvSpPr>
        <p:spPr>
          <a:xfrm>
            <a:off x="9199387" y="1008533"/>
            <a:ext cx="2216764" cy="699187"/>
          </a:xfrm>
          <a:prstGeom prst="chevron">
            <a:avLst>
              <a:gd name="adj" fmla="val 19003"/>
            </a:avLst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 rtl="0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text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65" hasCustomPrompt="1"/>
          </p:nvPr>
        </p:nvSpPr>
        <p:spPr>
          <a:xfrm>
            <a:off x="2881783" y="1829410"/>
            <a:ext cx="1995034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 rtl="0">
              <a:defRPr/>
            </a:lvl1pPr>
            <a:lvl2pPr marL="347663" indent="-174625" rtl="0">
              <a:defRPr sz="1200"/>
            </a:lvl2pPr>
            <a:lvl3pPr marL="509588" indent="-161925" rtl="0">
              <a:defRPr sz="1200"/>
            </a:lvl3pPr>
            <a:lvl4pPr marL="682625" indent="-173038" rtl="0">
              <a:defRPr sz="1200"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66" hasCustomPrompt="1"/>
          </p:nvPr>
        </p:nvSpPr>
        <p:spPr>
          <a:xfrm>
            <a:off x="4998734" y="1829410"/>
            <a:ext cx="1995034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 rtl="0">
              <a:defRPr/>
            </a:lvl1pPr>
            <a:lvl2pPr marL="347663" indent="-174625" rtl="0">
              <a:defRPr sz="1200"/>
            </a:lvl2pPr>
            <a:lvl3pPr marL="509588" indent="-161925" rtl="0">
              <a:defRPr sz="1200"/>
            </a:lvl3pPr>
            <a:lvl4pPr marL="682625" indent="-173038" rtl="0">
              <a:defRPr sz="1200"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67" hasCustomPrompt="1"/>
          </p:nvPr>
        </p:nvSpPr>
        <p:spPr>
          <a:xfrm>
            <a:off x="7148936" y="1829410"/>
            <a:ext cx="1995034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 rtl="0">
              <a:defRPr/>
            </a:lvl1pPr>
            <a:lvl2pPr marL="347663" indent="-174625" rtl="0">
              <a:defRPr sz="1200"/>
            </a:lvl2pPr>
            <a:lvl3pPr marL="509588" indent="-161925" rtl="0">
              <a:defRPr sz="1200"/>
            </a:lvl3pPr>
            <a:lvl4pPr marL="682625" indent="-173038" rtl="0">
              <a:defRPr sz="1200"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68" hasCustomPrompt="1"/>
          </p:nvPr>
        </p:nvSpPr>
        <p:spPr>
          <a:xfrm>
            <a:off x="9265887" y="1829410"/>
            <a:ext cx="1995034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 rtl="0">
              <a:defRPr/>
            </a:lvl1pPr>
            <a:lvl2pPr marL="347663" indent="-174625" rtl="0">
              <a:defRPr sz="1200"/>
            </a:lvl2pPr>
            <a:lvl3pPr marL="509588" indent="-161925" rtl="0">
              <a:defRPr sz="1200"/>
            </a:lvl3pPr>
            <a:lvl4pPr marL="682625" indent="-173038" rtl="0">
              <a:defRPr sz="1200"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91"/>
            <a:ext cx="10052425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 rtl="0">
              <a:buNone/>
              <a:defRPr sz="1000"/>
            </a:lvl1pPr>
          </a:lstStyle>
          <a:p>
            <a:r>
              <a:rPr lang="en-GB"/>
              <a:t>Click to edit Master footer. This space is reserved for footnotes and sources only, and cannot be expanded beyond its current size. Text should </a:t>
            </a:r>
            <a:br>
              <a:rPr lang="en-GB"/>
            </a:br>
            <a:r>
              <a:rPr lang="en-GB"/>
              <a:t>never cover the ‘Dalberg #’ in the bottom right., but the bottom line of text can extend under it if necessary.  SOURCE::</a:t>
            </a:r>
            <a:r>
              <a:rPr lang="en-GB" err="1"/>
              <a:t>xxxxxxxxxxxxxxxxxxxxxxxx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31525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39FF7A-D7DE-4873-B402-8E56A818F9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F5CD51-27B2-6F4F-BFA3-775B86793268}" type="datetime1">
              <a:rPr lang="de-CH" smtClean="0"/>
              <a:t>14.06.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74B712-7785-41E8-BE0A-ED409EB59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61E9FC-D7F7-4DE4-8F60-D54059AD8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EFF3B-99AB-4392-AB7E-AE8F15289D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9970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EE1AA8C-E15D-A44A-9406-A5219CE72065}"/>
              </a:ext>
            </a:extLst>
          </p:cNvPr>
          <p:cNvSpPr/>
          <p:nvPr userDrawn="1"/>
        </p:nvSpPr>
        <p:spPr>
          <a:xfrm>
            <a:off x="4" y="0"/>
            <a:ext cx="12192000" cy="6858000"/>
          </a:xfrm>
          <a:prstGeom prst="rect">
            <a:avLst/>
          </a:prstGeom>
          <a:solidFill>
            <a:srgbClr val="F3B11C">
              <a:alpha val="94902"/>
            </a:srgb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9970495"/>
              </p:ext>
            </p:extLst>
          </p:nvPr>
        </p:nvGraphicFramePr>
        <p:xfrm>
          <a:off x="4" y="3"/>
          <a:ext cx="211668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" y="3"/>
                        <a:ext cx="211668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>
            <a:extLst>
              <a:ext uri="{FF2B5EF4-FFF2-40B4-BE49-F238E27FC236}">
                <a16:creationId xmlns:a16="http://schemas.microsoft.com/office/drawing/2014/main" id="{0FEF2971-18CA-A447-B977-0E8BA063D8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481899" y="3993160"/>
            <a:ext cx="6564923" cy="215444"/>
          </a:xfrm>
        </p:spPr>
        <p:txBody>
          <a:bodyPr wrap="square" lIns="0" tIns="0" rIns="0" bIns="0" anchor="t">
            <a:spAutoFit/>
          </a:bodyPr>
          <a:lstStyle>
            <a:lvl1pPr marL="0" indent="0" algn="l" rtl="0">
              <a:spcAft>
                <a:spcPts val="0"/>
              </a:spcAft>
              <a:buNone/>
              <a:defRPr sz="1400" b="0" cap="all" spc="30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36433" indent="0" algn="ctr">
              <a:buNone/>
              <a:defRPr sz="2300"/>
            </a:lvl2pPr>
            <a:lvl3pPr marL="1072866" indent="0" algn="ctr">
              <a:buNone/>
              <a:defRPr sz="2100"/>
            </a:lvl3pPr>
            <a:lvl4pPr marL="1609298" indent="0" algn="ctr">
              <a:buNone/>
              <a:defRPr sz="1900"/>
            </a:lvl4pPr>
            <a:lvl5pPr marL="2145731" indent="0" algn="ctr">
              <a:buNone/>
              <a:defRPr sz="1900"/>
            </a:lvl5pPr>
            <a:lvl6pPr marL="2682164" indent="0" algn="ctr">
              <a:buNone/>
              <a:defRPr sz="1900"/>
            </a:lvl6pPr>
            <a:lvl7pPr marL="3218597" indent="0" algn="ctr">
              <a:buNone/>
              <a:defRPr sz="1900"/>
            </a:lvl7pPr>
            <a:lvl8pPr marL="3755029" indent="0" algn="ctr">
              <a:buNone/>
              <a:defRPr sz="1900"/>
            </a:lvl8pPr>
            <a:lvl9pPr marL="4291462" indent="0" algn="ctr">
              <a:buNone/>
              <a:defRPr sz="1900"/>
            </a:lvl9pPr>
          </a:lstStyle>
          <a:p>
            <a:r>
              <a:rPr lang="en-GB"/>
              <a:t>Sub-title and dat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21B53F68-7CEB-4F4B-A468-2B1D397F0E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81900" y="2757412"/>
            <a:ext cx="8082916" cy="646331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buFont typeface="Arial" panose="020B0604020202020204" pitchFamily="34" charset="0"/>
              <a:buNone/>
              <a:defRPr sz="4200" b="0" baseline="0">
                <a:solidFill>
                  <a:schemeClr val="bg1"/>
                </a:solidFill>
                <a:latin typeface="Lato Light" panose="020F0302020204030203" pitchFamily="34" charset="0"/>
              </a:defRPr>
            </a:lvl1pPr>
          </a:lstStyle>
          <a:p>
            <a:pPr lvl="0"/>
            <a:r>
              <a:rPr lang="en-GB"/>
              <a:t>Title is </a:t>
            </a:r>
            <a:r>
              <a:rPr lang="en-GB" err="1"/>
              <a:t>Lato</a:t>
            </a:r>
            <a:r>
              <a:rPr lang="en-GB"/>
              <a:t> Light 42 point</a:t>
            </a:r>
          </a:p>
        </p:txBody>
      </p:sp>
      <p:cxnSp>
        <p:nvCxnSpPr>
          <p:cNvPr id="24" name="Line">
            <a:extLst>
              <a:ext uri="{FF2B5EF4-FFF2-40B4-BE49-F238E27FC236}">
                <a16:creationId xmlns:a16="http://schemas.microsoft.com/office/drawing/2014/main" id="{E277333D-8D22-DE4D-BED7-4452956ECF14}"/>
              </a:ext>
            </a:extLst>
          </p:cNvPr>
          <p:cNvCxnSpPr>
            <a:cxnSpLocks/>
          </p:cNvCxnSpPr>
          <p:nvPr userDrawn="1"/>
        </p:nvCxnSpPr>
        <p:spPr>
          <a:xfrm>
            <a:off x="3481899" y="3709468"/>
            <a:ext cx="562708" cy="0"/>
          </a:xfrm>
          <a:prstGeom prst="line">
            <a:avLst/>
          </a:prstGeom>
          <a:ln w="28575">
            <a:solidFill>
              <a:srgbClr val="881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36EC3E5E-8C80-C44A-AD67-64D64758C168}"/>
              </a:ext>
            </a:extLst>
          </p:cNvPr>
          <p:cNvSpPr/>
          <p:nvPr userDrawn="1"/>
        </p:nvSpPr>
        <p:spPr>
          <a:xfrm>
            <a:off x="0" y="1695088"/>
            <a:ext cx="2250831" cy="3474237"/>
          </a:xfrm>
          <a:prstGeom prst="rect">
            <a:avLst/>
          </a:prstGeom>
          <a:solidFill>
            <a:srgbClr val="881946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4625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600" kern="1200">
              <a:solidFill>
                <a:schemeClr val="tx1"/>
              </a:solidFill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1A3603C-679D-4F76-BE5B-3D88C80F51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09354" y="914401"/>
            <a:ext cx="2571262" cy="1254125"/>
          </a:xfrm>
        </p:spPr>
        <p:txBody>
          <a:bodyPr/>
          <a:lstStyle>
            <a:lvl1pPr marL="0" indent="0" rtl="0">
              <a:buNone/>
              <a:defRPr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o insert photo overlay, refer to instructions at end of deck</a:t>
            </a:r>
          </a:p>
        </p:txBody>
      </p:sp>
      <p:pic>
        <p:nvPicPr>
          <p:cNvPr id="12" name="Picture 11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732931CE-92A4-4387-861A-5BBD536C00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236" y="3121216"/>
            <a:ext cx="1621638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851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2298">
          <p15:clr>
            <a:srgbClr val="FBAE40"/>
          </p15:clr>
        </p15:guide>
        <p15:guide id="4" orient="horz" pos="2432">
          <p15:clr>
            <a:srgbClr val="FBAE40"/>
          </p15:clr>
        </p15:guide>
        <p15:guide id="5" orient="horz" pos="2568">
          <p15:clr>
            <a:srgbClr val="FBAE40"/>
          </p15:clr>
        </p15:guide>
        <p15:guide id="6" orient="horz" pos="2702">
          <p15:clr>
            <a:srgbClr val="FBAE40"/>
          </p15:clr>
        </p15:guide>
        <p15:guide id="7" orient="horz" pos="2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44311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A62160E5-6957-B74E-8AB2-6028713D96A9}" type="datetime1">
              <a:rPr lang="de-CH" smtClean="0"/>
              <a:t>14.06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42461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00560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743536D7-E3F3-E346-B07E-D3202D28C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99011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847" y="1511299"/>
            <a:ext cx="11303523" cy="4845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41194"/>
            <a:ext cx="2743200" cy="365125"/>
          </a:xfrm>
          <a:prstGeom prst="rect">
            <a:avLst/>
          </a:prstGeom>
        </p:spPr>
        <p:txBody>
          <a:bodyPr/>
          <a:lstStyle/>
          <a:p>
            <a:fld id="{6132564A-162C-DD4F-BB4A-2773F8948980}" type="datetime1">
              <a:rPr lang="de-CH" smtClean="0"/>
              <a:t>14.06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44119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441194"/>
            <a:ext cx="2743200" cy="365125"/>
          </a:xfrm>
          <a:prstGeom prst="rect">
            <a:avLst/>
          </a:prstGeom>
        </p:spPr>
        <p:txBody>
          <a:bodyPr/>
          <a:lstStyle/>
          <a:p>
            <a:fld id="{743536D7-E3F3-E346-B07E-D3202D28CF54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25A898-6215-1738-F4EF-48FA290B5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08080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41194"/>
            <a:ext cx="2743200" cy="365125"/>
          </a:xfrm>
          <a:prstGeom prst="rect">
            <a:avLst/>
          </a:prstGeom>
        </p:spPr>
        <p:txBody>
          <a:bodyPr/>
          <a:lstStyle/>
          <a:p>
            <a:fld id="{D1C60D00-12C3-644F-8AC8-173AAF49B0AF}" type="datetime1">
              <a:rPr lang="de-CH" smtClean="0"/>
              <a:t>14.06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44119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441194"/>
            <a:ext cx="2743200" cy="365125"/>
          </a:xfrm>
          <a:prstGeom prst="rect">
            <a:avLst/>
          </a:prstGeom>
        </p:spPr>
        <p:txBody>
          <a:bodyPr/>
          <a:lstStyle/>
          <a:p>
            <a:fld id="{743536D7-E3F3-E346-B07E-D3202D28CF54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25A898-6215-1738-F4EF-48FA290B5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16">
            <a:extLst>
              <a:ext uri="{FF2B5EF4-FFF2-40B4-BE49-F238E27FC236}">
                <a16:creationId xmlns:a16="http://schemas.microsoft.com/office/drawing/2014/main" id="{20977910-5929-427F-9394-52074BEF8E8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638300"/>
            <a:ext cx="12192000" cy="2556329"/>
          </a:xfrm>
          <a:custGeom>
            <a:avLst/>
            <a:gdLst>
              <a:gd name="connsiteX0" fmla="*/ 0 w 5383752"/>
              <a:gd name="connsiteY0" fmla="*/ 0 h 3471423"/>
              <a:gd name="connsiteX1" fmla="*/ 5383752 w 5383752"/>
              <a:gd name="connsiteY1" fmla="*/ 0 h 3471423"/>
              <a:gd name="connsiteX2" fmla="*/ 5383752 w 5383752"/>
              <a:gd name="connsiteY2" fmla="*/ 3471423 h 3471423"/>
              <a:gd name="connsiteX3" fmla="*/ 0 w 5383752"/>
              <a:gd name="connsiteY3" fmla="*/ 3471423 h 347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83752" h="3471423">
                <a:moveTo>
                  <a:pt x="0" y="0"/>
                </a:moveTo>
                <a:lnTo>
                  <a:pt x="5383752" y="0"/>
                </a:lnTo>
                <a:lnTo>
                  <a:pt x="5383752" y="3471423"/>
                </a:lnTo>
                <a:lnTo>
                  <a:pt x="0" y="3471423"/>
                </a:ln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</p:spPr>
        <p:txBody>
          <a:bodyPr wrap="square" bIns="274320" anchor="b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29726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41194"/>
            <a:ext cx="2743200" cy="365125"/>
          </a:xfrm>
          <a:prstGeom prst="rect">
            <a:avLst/>
          </a:prstGeom>
        </p:spPr>
        <p:txBody>
          <a:bodyPr/>
          <a:lstStyle/>
          <a:p>
            <a:fld id="{FBDAFD19-BD9F-A148-B7F0-976FDBCA7306}" type="datetime1">
              <a:rPr lang="de-CH" smtClean="0"/>
              <a:t>14.06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44119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53800" y="6577939"/>
            <a:ext cx="2743200" cy="365125"/>
          </a:xfrm>
          <a:prstGeom prst="rect">
            <a:avLst/>
          </a:prstGeom>
        </p:spPr>
        <p:txBody>
          <a:bodyPr/>
          <a:lstStyle/>
          <a:p>
            <a:fld id="{743536D7-E3F3-E346-B07E-D3202D28CF5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25A898-6215-1738-F4EF-48FA290B5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F5F8F02A-160E-47B1-AF4D-ECFA2847A23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6101543" cy="6858000"/>
          </a:xfrm>
          <a:custGeom>
            <a:avLst/>
            <a:gdLst>
              <a:gd name="connsiteX0" fmla="*/ 0 w 6105525"/>
              <a:gd name="connsiteY0" fmla="*/ 0 h 6858000"/>
              <a:gd name="connsiteX1" fmla="*/ 6105525 w 6105525"/>
              <a:gd name="connsiteY1" fmla="*/ 0 h 6858000"/>
              <a:gd name="connsiteX2" fmla="*/ 6105525 w 6105525"/>
              <a:gd name="connsiteY2" fmla="*/ 6858000 h 6858000"/>
              <a:gd name="connsiteX3" fmla="*/ 0 w 61055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05525" h="6858000">
                <a:moveTo>
                  <a:pt x="0" y="0"/>
                </a:moveTo>
                <a:lnTo>
                  <a:pt x="6105525" y="0"/>
                </a:lnTo>
                <a:lnTo>
                  <a:pt x="610552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</p:spPr>
        <p:txBody>
          <a:bodyPr wrap="square" bIns="274320" anchor="b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8407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44311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1E127D98-144C-F64C-A3D9-D05DA3D71CBD}" type="datetime1">
              <a:rPr lang="de-CH" smtClean="0"/>
              <a:t>14.06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42461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00560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743536D7-E3F3-E346-B07E-D3202D28C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1610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44311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858FB2BA-938F-3149-ABA7-DFCE40929158}" type="datetime1">
              <a:rPr lang="de-CH" smtClean="0"/>
              <a:t>14.06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42461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200560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743536D7-E3F3-E346-B07E-D3202D28C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24764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244311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8F280751-4ACD-DC4D-80AC-0556EB14F478}" type="datetime1">
              <a:rPr lang="de-CH" smtClean="0"/>
              <a:t>14.06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42461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9200560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743536D7-E3F3-E346-B07E-D3202D28C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8959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242" y="1626781"/>
            <a:ext cx="12012706" cy="10463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44311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8EA9AC48-B6D4-A64C-99F9-875523A9A54B}" type="datetime1">
              <a:rPr lang="de-CH" smtClean="0"/>
              <a:t>14.06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574238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200560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743536D7-E3F3-E346-B07E-D3202D28C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2406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44311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7CD29C0F-978B-7140-9F35-AF563C53C76A}" type="datetime1">
              <a:rPr lang="de-CH" smtClean="0"/>
              <a:t>14.06.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42461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200560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743536D7-E3F3-E346-B07E-D3202D28C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53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44311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115F63C8-AB83-314E-A04F-063B41D80F50}" type="datetime1">
              <a:rPr lang="de-CH" smtClean="0"/>
              <a:t>14.06.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42461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200560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743536D7-E3F3-E346-B07E-D3202D28CF5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F67F4276-3500-4F03-B420-8C9B59959A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84917" y="0"/>
            <a:ext cx="6107084" cy="6858000"/>
          </a:xfrm>
          <a:custGeom>
            <a:avLst/>
            <a:gdLst>
              <a:gd name="connsiteX0" fmla="*/ 0 w 6105525"/>
              <a:gd name="connsiteY0" fmla="*/ 0 h 6858000"/>
              <a:gd name="connsiteX1" fmla="*/ 6105525 w 6105525"/>
              <a:gd name="connsiteY1" fmla="*/ 0 h 6858000"/>
              <a:gd name="connsiteX2" fmla="*/ 6105525 w 6105525"/>
              <a:gd name="connsiteY2" fmla="*/ 6858000 h 6858000"/>
              <a:gd name="connsiteX3" fmla="*/ 0 w 610552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05525" h="6858000">
                <a:moveTo>
                  <a:pt x="0" y="0"/>
                </a:moveTo>
                <a:lnTo>
                  <a:pt x="6105525" y="0"/>
                </a:lnTo>
                <a:lnTo>
                  <a:pt x="610552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</p:spPr>
        <p:txBody>
          <a:bodyPr wrap="square" bIns="274320" anchor="b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8465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_clien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HOTO">
            <a:extLst>
              <a:ext uri="{FF2B5EF4-FFF2-40B4-BE49-F238E27FC236}">
                <a16:creationId xmlns:a16="http://schemas.microsoft.com/office/drawing/2014/main" id="{DF6BBDFA-831E-294E-AE6C-3C15E63945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5A56A69-0F22-8E45-A819-2CCCFDD53A64}"/>
              </a:ext>
            </a:extLst>
          </p:cNvPr>
          <p:cNvSpPr/>
          <p:nvPr userDrawn="1"/>
        </p:nvSpPr>
        <p:spPr>
          <a:xfrm>
            <a:off x="0" y="2"/>
            <a:ext cx="12192000" cy="6858000"/>
          </a:xfrm>
          <a:prstGeom prst="rect">
            <a:avLst/>
          </a:prstGeom>
          <a:solidFill>
            <a:srgbClr val="0889A8">
              <a:alpha val="89804"/>
            </a:srgb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85070F-B826-0945-8FE1-66C969558BFD}"/>
              </a:ext>
            </a:extLst>
          </p:cNvPr>
          <p:cNvSpPr/>
          <p:nvPr userDrawn="1"/>
        </p:nvSpPr>
        <p:spPr>
          <a:xfrm>
            <a:off x="0" y="6165850"/>
            <a:ext cx="12192000" cy="6921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9505600"/>
              </p:ext>
            </p:extLst>
          </p:nvPr>
        </p:nvGraphicFramePr>
        <p:xfrm>
          <a:off x="4" y="3"/>
          <a:ext cx="211668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83" imgH="385" progId="TCLayout.ActiveDocument.1">
                  <p:embed/>
                </p:oleObj>
              </mc:Choice>
              <mc:Fallback>
                <p:oleObj name="Diapositive think-cell" r:id="rId4" imgW="383" imgH="38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" y="3"/>
                        <a:ext cx="211668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481899" y="3505480"/>
            <a:ext cx="6564923" cy="215444"/>
          </a:xfrm>
        </p:spPr>
        <p:txBody>
          <a:bodyPr wrap="square" lIns="0" tIns="0" rIns="0" bIns="0" anchor="t">
            <a:spAutoFit/>
          </a:bodyPr>
          <a:lstStyle>
            <a:lvl1pPr marL="0" indent="0" algn="l" rtl="0">
              <a:spcAft>
                <a:spcPts val="0"/>
              </a:spcAft>
              <a:buNone/>
              <a:defRPr sz="1400" b="0" cap="all" spc="30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36433" indent="0" algn="ctr">
              <a:buNone/>
              <a:defRPr sz="2300"/>
            </a:lvl2pPr>
            <a:lvl3pPr marL="1072866" indent="0" algn="ctr">
              <a:buNone/>
              <a:defRPr sz="2100"/>
            </a:lvl3pPr>
            <a:lvl4pPr marL="1609298" indent="0" algn="ctr">
              <a:buNone/>
              <a:defRPr sz="1900"/>
            </a:lvl4pPr>
            <a:lvl5pPr marL="2145731" indent="0" algn="ctr">
              <a:buNone/>
              <a:defRPr sz="1900"/>
            </a:lvl5pPr>
            <a:lvl6pPr marL="2682164" indent="0" algn="ctr">
              <a:buNone/>
              <a:defRPr sz="1900"/>
            </a:lvl6pPr>
            <a:lvl7pPr marL="3218597" indent="0" algn="ctr">
              <a:buNone/>
              <a:defRPr sz="1900"/>
            </a:lvl7pPr>
            <a:lvl8pPr marL="3755029" indent="0" algn="ctr">
              <a:buNone/>
              <a:defRPr sz="1900"/>
            </a:lvl8pPr>
            <a:lvl9pPr marL="4291462" indent="0" algn="ctr">
              <a:buNone/>
              <a:defRPr sz="1900"/>
            </a:lvl9pPr>
          </a:lstStyle>
          <a:p>
            <a:r>
              <a:rPr lang="en-GB"/>
              <a:t>Sub-title and dat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481900" y="2269732"/>
            <a:ext cx="8082916" cy="646331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buFont typeface="Arial" panose="020B0604020202020204" pitchFamily="34" charset="0"/>
              <a:buNone/>
              <a:defRPr sz="4200" b="0" baseline="0">
                <a:solidFill>
                  <a:schemeClr val="bg1"/>
                </a:solidFill>
                <a:latin typeface="Lato Light" panose="020F0302020204030203" pitchFamily="34" charset="0"/>
              </a:defRPr>
            </a:lvl1pPr>
          </a:lstStyle>
          <a:p>
            <a:pPr lvl="0"/>
            <a:r>
              <a:rPr lang="en-GB"/>
              <a:t>Title is </a:t>
            </a:r>
            <a:r>
              <a:rPr lang="en-GB" err="1"/>
              <a:t>Lato</a:t>
            </a:r>
            <a:r>
              <a:rPr lang="en-GB"/>
              <a:t> Light 42 poin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1373990"/>
            <a:ext cx="2250831" cy="3474237"/>
          </a:xfrm>
          <a:prstGeom prst="rect">
            <a:avLst/>
          </a:prstGeom>
          <a:solidFill>
            <a:srgbClr val="881946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4625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600" kern="1200">
              <a:solidFill>
                <a:schemeClr val="tx1"/>
              </a:solidFill>
              <a:latin typeface="+mj-lt"/>
              <a:ea typeface="+mn-ea"/>
              <a:cs typeface="Arial" pitchFamily="34" charset="0"/>
            </a:endParaRPr>
          </a:p>
        </p:txBody>
      </p:sp>
      <p:cxnSp>
        <p:nvCxnSpPr>
          <p:cNvPr id="13" name="Line"/>
          <p:cNvCxnSpPr>
            <a:cxnSpLocks/>
          </p:cNvCxnSpPr>
          <p:nvPr userDrawn="1"/>
        </p:nvCxnSpPr>
        <p:spPr>
          <a:xfrm>
            <a:off x="3481899" y="3221788"/>
            <a:ext cx="562708" cy="0"/>
          </a:xfrm>
          <a:prstGeom prst="line">
            <a:avLst/>
          </a:prstGeom>
          <a:ln w="28575">
            <a:solidFill>
              <a:srgbClr val="881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4269587" y="6321805"/>
            <a:ext cx="3652828" cy="399402"/>
          </a:xfrm>
        </p:spPr>
        <p:txBody>
          <a:bodyPr anchor="ctr">
            <a:noAutofit/>
          </a:bodyPr>
          <a:lstStyle>
            <a:lvl1pPr marL="0" indent="0" algn="ctr" rtl="0">
              <a:buNone/>
              <a:defRPr>
                <a:solidFill>
                  <a:srgbClr val="606060"/>
                </a:solidFill>
              </a:defRPr>
            </a:lvl1pPr>
          </a:lstStyle>
          <a:p>
            <a:r>
              <a:rPr lang="en-GB"/>
              <a:t>Add client logo</a:t>
            </a:r>
          </a:p>
        </p:txBody>
      </p:sp>
      <p:pic>
        <p:nvPicPr>
          <p:cNvPr id="14" name="Picture 13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A799183C-5D1C-46B5-B4DA-ECBD443DEC9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236" y="2815276"/>
            <a:ext cx="1621638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746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orient="horz" pos="2106">
          <p15:clr>
            <a:srgbClr val="FBAE40"/>
          </p15:clr>
        </p15:guide>
        <p15:guide id="3" orient="horz" pos="1968">
          <p15:clr>
            <a:srgbClr val="FBAE40"/>
          </p15:clr>
        </p15:guide>
        <p15:guide id="4" pos="720">
          <p15:clr>
            <a:srgbClr val="FBAE40"/>
          </p15:clr>
        </p15:guide>
        <p15:guide id="5" orient="horz" pos="2376">
          <p15:clr>
            <a:srgbClr val="FBAE40"/>
          </p15:clr>
        </p15:guide>
        <p15:guide id="6" orient="horz" pos="2240">
          <p15:clr>
            <a:srgbClr val="FBAE40"/>
          </p15:clr>
        </p15:guide>
        <p15:guide id="7" orient="horz" pos="2510">
          <p15:clr>
            <a:srgbClr val="FBAE40"/>
          </p15:clr>
        </p15:guide>
        <p15:guide id="8" orient="horz" pos="2646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2" indent="0">
              <a:buNone/>
              <a:defRPr sz="1400"/>
            </a:lvl2pPr>
            <a:lvl3pPr marL="914363" indent="0">
              <a:buNone/>
              <a:defRPr sz="1200"/>
            </a:lvl3pPr>
            <a:lvl4pPr marL="1371545" indent="0">
              <a:buNone/>
              <a:defRPr sz="1000"/>
            </a:lvl4pPr>
            <a:lvl5pPr marL="1828727" indent="0">
              <a:buNone/>
              <a:defRPr sz="1000"/>
            </a:lvl5pPr>
            <a:lvl6pPr marL="2285909" indent="0">
              <a:buNone/>
              <a:defRPr sz="1000"/>
            </a:lvl6pPr>
            <a:lvl7pPr marL="2743090" indent="0">
              <a:buNone/>
              <a:defRPr sz="1000"/>
            </a:lvl7pPr>
            <a:lvl8pPr marL="3200272" indent="0">
              <a:buNone/>
              <a:defRPr sz="1000"/>
            </a:lvl8pPr>
            <a:lvl9pPr marL="365745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44311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F8146F19-4CBC-164F-B80F-8E491D2B7FF1}" type="datetime1">
              <a:rPr lang="de-CH" smtClean="0"/>
              <a:t>14.06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42461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200560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743536D7-E3F3-E346-B07E-D3202D28C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03885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2" indent="0">
              <a:buNone/>
              <a:defRPr sz="2800"/>
            </a:lvl2pPr>
            <a:lvl3pPr marL="914363" indent="0">
              <a:buNone/>
              <a:defRPr sz="2400"/>
            </a:lvl3pPr>
            <a:lvl4pPr marL="1371545" indent="0">
              <a:buNone/>
              <a:defRPr sz="2000"/>
            </a:lvl4pPr>
            <a:lvl5pPr marL="1828727" indent="0">
              <a:buNone/>
              <a:defRPr sz="2000"/>
            </a:lvl5pPr>
            <a:lvl6pPr marL="2285909" indent="0">
              <a:buNone/>
              <a:defRPr sz="2000"/>
            </a:lvl6pPr>
            <a:lvl7pPr marL="2743090" indent="0">
              <a:buNone/>
              <a:defRPr sz="2000"/>
            </a:lvl7pPr>
            <a:lvl8pPr marL="3200272" indent="0">
              <a:buNone/>
              <a:defRPr sz="2000"/>
            </a:lvl8pPr>
            <a:lvl9pPr marL="3657454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2" indent="0">
              <a:buNone/>
              <a:defRPr sz="1400"/>
            </a:lvl2pPr>
            <a:lvl3pPr marL="914363" indent="0">
              <a:buNone/>
              <a:defRPr sz="1200"/>
            </a:lvl3pPr>
            <a:lvl4pPr marL="1371545" indent="0">
              <a:buNone/>
              <a:defRPr sz="1000"/>
            </a:lvl4pPr>
            <a:lvl5pPr marL="1828727" indent="0">
              <a:buNone/>
              <a:defRPr sz="1000"/>
            </a:lvl5pPr>
            <a:lvl6pPr marL="2285909" indent="0">
              <a:buNone/>
              <a:defRPr sz="1000"/>
            </a:lvl6pPr>
            <a:lvl7pPr marL="2743090" indent="0">
              <a:buNone/>
              <a:defRPr sz="1000"/>
            </a:lvl7pPr>
            <a:lvl8pPr marL="3200272" indent="0">
              <a:buNone/>
              <a:defRPr sz="1000"/>
            </a:lvl8pPr>
            <a:lvl9pPr marL="365745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44311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801E6C89-EC0C-2049-A45A-B93B7D7522BF}" type="datetime1">
              <a:rPr lang="de-CH" smtClean="0"/>
              <a:t>14.06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42461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200560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743536D7-E3F3-E346-B07E-D3202D28C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42720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44311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B12D02C0-88FA-BC4E-B7AD-AA33F58B09EF}" type="datetime1">
              <a:rPr lang="de-CH" smtClean="0"/>
              <a:t>14.06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42461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00560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743536D7-E3F3-E346-B07E-D3202D28C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96354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44311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A7199E6E-EE08-B44A-8CA4-1F3DFC46A8A1}" type="datetime1">
              <a:rPr lang="de-CH" smtClean="0"/>
              <a:t>14.06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42461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00560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743536D7-E3F3-E346-B07E-D3202D28CF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4557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200560" y="6424612"/>
            <a:ext cx="2743200" cy="365125"/>
          </a:xfrm>
          <a:prstGeom prst="rect">
            <a:avLst/>
          </a:prstGeom>
        </p:spPr>
        <p:txBody>
          <a:bodyPr/>
          <a:lstStyle/>
          <a:p>
            <a:fld id="{11EAE1A9-8E7E-D04D-9670-8269DAC153D9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1"/>
          </p:nvPr>
        </p:nvSpPr>
        <p:spPr>
          <a:xfrm>
            <a:off x="336551" y="1658607"/>
            <a:ext cx="11518900" cy="440478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5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7157492" y="6411763"/>
            <a:ext cx="3149600" cy="3634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600" kern="1200" baseline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>
                <a:solidFill>
                  <a:schemeClr val="tx1"/>
                </a:solidFill>
                <a:latin typeface="+mj-lt"/>
              </a:rPr>
              <a:t># </a:t>
            </a:r>
            <a:r>
              <a:rPr lang="en-US"/>
              <a:t>Edit Hashtag here</a:t>
            </a:r>
          </a:p>
        </p:txBody>
      </p:sp>
    </p:spTree>
    <p:extLst>
      <p:ext uri="{BB962C8B-B14F-4D97-AF65-F5344CB8AC3E}">
        <p14:creationId xmlns:p14="http://schemas.microsoft.com/office/powerpoint/2010/main" val="22357485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847" y="1511299"/>
            <a:ext cx="11303523" cy="4845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41194"/>
            <a:ext cx="2743200" cy="365125"/>
          </a:xfrm>
          <a:prstGeom prst="rect">
            <a:avLst/>
          </a:prstGeom>
        </p:spPr>
        <p:txBody>
          <a:bodyPr/>
          <a:lstStyle/>
          <a:p>
            <a:fld id="{57502751-7838-004F-9D7C-3754F5DC55EA}" type="datetime1">
              <a:rPr lang="de-CH" smtClean="0"/>
              <a:t>14.06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44119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441194"/>
            <a:ext cx="2743200" cy="365125"/>
          </a:xfrm>
          <a:prstGeom prst="rect">
            <a:avLst/>
          </a:prstGeom>
        </p:spPr>
        <p:txBody>
          <a:bodyPr/>
          <a:lstStyle/>
          <a:p>
            <a:fld id="{743536D7-E3F3-E346-B07E-D3202D28CF54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25A898-6215-1738-F4EF-48FA290B5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725180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847" y="1511299"/>
            <a:ext cx="11303523" cy="4845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41194"/>
            <a:ext cx="2743200" cy="365125"/>
          </a:xfrm>
          <a:prstGeom prst="rect">
            <a:avLst/>
          </a:prstGeom>
        </p:spPr>
        <p:txBody>
          <a:bodyPr/>
          <a:lstStyle/>
          <a:p>
            <a:fld id="{42F95769-6283-AD46-820E-90806A8EA87A}" type="datetime1">
              <a:rPr lang="de-CH" smtClean="0"/>
              <a:t>14.06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44119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441194"/>
            <a:ext cx="2743200" cy="365125"/>
          </a:xfrm>
          <a:prstGeom prst="rect">
            <a:avLst/>
          </a:prstGeom>
        </p:spPr>
        <p:txBody>
          <a:bodyPr/>
          <a:lstStyle/>
          <a:p>
            <a:fld id="{743536D7-E3F3-E346-B07E-D3202D28CF54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25A898-6215-1738-F4EF-48FA290B50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28414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grey_clien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5A56A69-0F22-8E45-A819-2CCCFDD53A64}"/>
              </a:ext>
            </a:extLst>
          </p:cNvPr>
          <p:cNvSpPr/>
          <p:nvPr userDrawn="1"/>
        </p:nvSpPr>
        <p:spPr>
          <a:xfrm>
            <a:off x="1150" y="2"/>
            <a:ext cx="12192000" cy="6858000"/>
          </a:xfrm>
          <a:prstGeom prst="rect">
            <a:avLst/>
          </a:prstGeom>
          <a:solidFill>
            <a:srgbClr val="918A87">
              <a:alpha val="89804"/>
            </a:srgb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85070F-B826-0945-8FE1-66C969558BFD}"/>
              </a:ext>
            </a:extLst>
          </p:cNvPr>
          <p:cNvSpPr/>
          <p:nvPr userDrawn="1"/>
        </p:nvSpPr>
        <p:spPr>
          <a:xfrm>
            <a:off x="0" y="6165850"/>
            <a:ext cx="12192000" cy="6921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1334308"/>
              </p:ext>
            </p:extLst>
          </p:nvPr>
        </p:nvGraphicFramePr>
        <p:xfrm>
          <a:off x="4" y="3"/>
          <a:ext cx="211668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" y="3"/>
                        <a:ext cx="211668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481899" y="3505480"/>
            <a:ext cx="6564923" cy="215444"/>
          </a:xfrm>
        </p:spPr>
        <p:txBody>
          <a:bodyPr wrap="square" lIns="0" tIns="0" rIns="0" bIns="0" anchor="t">
            <a:spAutoFit/>
          </a:bodyPr>
          <a:lstStyle>
            <a:lvl1pPr marL="0" indent="0" algn="l" rtl="0">
              <a:spcAft>
                <a:spcPts val="0"/>
              </a:spcAft>
              <a:buNone/>
              <a:defRPr sz="1400" b="0" cap="all" spc="30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36433" indent="0" algn="ctr">
              <a:buNone/>
              <a:defRPr sz="2300"/>
            </a:lvl2pPr>
            <a:lvl3pPr marL="1072866" indent="0" algn="ctr">
              <a:buNone/>
              <a:defRPr sz="2100"/>
            </a:lvl3pPr>
            <a:lvl4pPr marL="1609298" indent="0" algn="ctr">
              <a:buNone/>
              <a:defRPr sz="1900"/>
            </a:lvl4pPr>
            <a:lvl5pPr marL="2145731" indent="0" algn="ctr">
              <a:buNone/>
              <a:defRPr sz="1900"/>
            </a:lvl5pPr>
            <a:lvl6pPr marL="2682164" indent="0" algn="ctr">
              <a:buNone/>
              <a:defRPr sz="1900"/>
            </a:lvl6pPr>
            <a:lvl7pPr marL="3218597" indent="0" algn="ctr">
              <a:buNone/>
              <a:defRPr sz="1900"/>
            </a:lvl7pPr>
            <a:lvl8pPr marL="3755029" indent="0" algn="ctr">
              <a:buNone/>
              <a:defRPr sz="1900"/>
            </a:lvl8pPr>
            <a:lvl9pPr marL="4291462" indent="0" algn="ctr">
              <a:buNone/>
              <a:defRPr sz="1900"/>
            </a:lvl9pPr>
          </a:lstStyle>
          <a:p>
            <a:r>
              <a:rPr lang="en-GB"/>
              <a:t>Sub-title and dat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481900" y="2269732"/>
            <a:ext cx="8082916" cy="646331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buFont typeface="Arial" panose="020B0604020202020204" pitchFamily="34" charset="0"/>
              <a:buNone/>
              <a:defRPr sz="4200" b="0" baseline="0">
                <a:solidFill>
                  <a:schemeClr val="bg1"/>
                </a:solidFill>
                <a:latin typeface="Lato Light" panose="020F0302020204030203" pitchFamily="34" charset="0"/>
              </a:defRPr>
            </a:lvl1pPr>
          </a:lstStyle>
          <a:p>
            <a:pPr lvl="0"/>
            <a:r>
              <a:rPr lang="en-GB"/>
              <a:t>Title is </a:t>
            </a:r>
            <a:r>
              <a:rPr lang="en-GB" err="1"/>
              <a:t>Lato</a:t>
            </a:r>
            <a:r>
              <a:rPr lang="en-GB"/>
              <a:t> Light 42 poin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1373990"/>
            <a:ext cx="2250831" cy="3474237"/>
          </a:xfrm>
          <a:prstGeom prst="rect">
            <a:avLst/>
          </a:prstGeom>
          <a:solidFill>
            <a:srgbClr val="881946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4625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600" kern="1200">
              <a:solidFill>
                <a:schemeClr val="tx1"/>
              </a:solidFill>
              <a:latin typeface="+mj-lt"/>
              <a:ea typeface="+mn-ea"/>
              <a:cs typeface="Arial" pitchFamily="34" charset="0"/>
            </a:endParaRPr>
          </a:p>
        </p:txBody>
      </p:sp>
      <p:cxnSp>
        <p:nvCxnSpPr>
          <p:cNvPr id="13" name="Line"/>
          <p:cNvCxnSpPr>
            <a:cxnSpLocks/>
          </p:cNvCxnSpPr>
          <p:nvPr userDrawn="1"/>
        </p:nvCxnSpPr>
        <p:spPr>
          <a:xfrm>
            <a:off x="3481899" y="3221788"/>
            <a:ext cx="562708" cy="0"/>
          </a:xfrm>
          <a:prstGeom prst="line">
            <a:avLst/>
          </a:prstGeom>
          <a:ln w="28575">
            <a:solidFill>
              <a:srgbClr val="881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4269587" y="6321805"/>
            <a:ext cx="3652828" cy="399402"/>
          </a:xfrm>
        </p:spPr>
        <p:txBody>
          <a:bodyPr anchor="ctr">
            <a:noAutofit/>
          </a:bodyPr>
          <a:lstStyle>
            <a:lvl1pPr marL="0" indent="0" algn="ctr" rtl="0">
              <a:buNone/>
              <a:defRPr>
                <a:solidFill>
                  <a:srgbClr val="606060"/>
                </a:solidFill>
              </a:defRPr>
            </a:lvl1pPr>
          </a:lstStyle>
          <a:p>
            <a:r>
              <a:rPr lang="en-GB"/>
              <a:t>Add client logo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61F2143-AFC9-4299-91D1-E53766CD3C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09354" y="914401"/>
            <a:ext cx="2571262" cy="1254125"/>
          </a:xfrm>
        </p:spPr>
        <p:txBody>
          <a:bodyPr/>
          <a:lstStyle>
            <a:lvl1pPr marL="0" indent="0" rtl="0">
              <a:buNone/>
              <a:defRPr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o insert photo overlay, refer to instructions at end of deck</a:t>
            </a:r>
          </a:p>
        </p:txBody>
      </p:sp>
      <p:pic>
        <p:nvPicPr>
          <p:cNvPr id="15" name="Picture 14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EFF5C9B3-D792-4AAF-AEDB-2FCDBD2A05A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236" y="2815276"/>
            <a:ext cx="1621638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557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orient="horz" pos="2106">
          <p15:clr>
            <a:srgbClr val="FBAE40"/>
          </p15:clr>
        </p15:guide>
        <p15:guide id="3" orient="horz" pos="1968">
          <p15:clr>
            <a:srgbClr val="FBAE40"/>
          </p15:clr>
        </p15:guide>
        <p15:guide id="4" pos="720">
          <p15:clr>
            <a:srgbClr val="FBAE40"/>
          </p15:clr>
        </p15:guide>
        <p15:guide id="5" orient="horz" pos="2376">
          <p15:clr>
            <a:srgbClr val="FBAE40"/>
          </p15:clr>
        </p15:guide>
        <p15:guide id="6" orient="horz" pos="2240">
          <p15:clr>
            <a:srgbClr val="FBAE40"/>
          </p15:clr>
        </p15:guide>
        <p15:guide id="7" orient="horz" pos="2510">
          <p15:clr>
            <a:srgbClr val="FBAE40"/>
          </p15:clr>
        </p15:guide>
        <p15:guide id="8" orient="horz" pos="264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_clien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5A56A69-0F22-8E45-A819-2CCCFDD53A64}"/>
              </a:ext>
            </a:extLst>
          </p:cNvPr>
          <p:cNvSpPr/>
          <p:nvPr userDrawn="1"/>
        </p:nvSpPr>
        <p:spPr>
          <a:xfrm>
            <a:off x="4" y="-8884"/>
            <a:ext cx="12192000" cy="6858000"/>
          </a:xfrm>
          <a:prstGeom prst="rect">
            <a:avLst/>
          </a:prstGeom>
          <a:solidFill>
            <a:srgbClr val="F3B11C">
              <a:alpha val="89804"/>
            </a:srgb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C85070F-B826-0945-8FE1-66C969558BFD}"/>
              </a:ext>
            </a:extLst>
          </p:cNvPr>
          <p:cNvSpPr/>
          <p:nvPr userDrawn="1"/>
        </p:nvSpPr>
        <p:spPr>
          <a:xfrm>
            <a:off x="0" y="6165850"/>
            <a:ext cx="12192000" cy="6921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US" sz="1600" kern="1200">
              <a:solidFill>
                <a:schemeClr val="tx1"/>
              </a:solidFill>
              <a:ea typeface="+mn-ea"/>
              <a:cs typeface="Arial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5755200"/>
              </p:ext>
            </p:extLst>
          </p:nvPr>
        </p:nvGraphicFramePr>
        <p:xfrm>
          <a:off x="4" y="3"/>
          <a:ext cx="211668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" y="3"/>
                        <a:ext cx="211668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481899" y="3505480"/>
            <a:ext cx="6564923" cy="215444"/>
          </a:xfrm>
        </p:spPr>
        <p:txBody>
          <a:bodyPr wrap="square" lIns="0" tIns="0" rIns="0" bIns="0" anchor="t">
            <a:spAutoFit/>
          </a:bodyPr>
          <a:lstStyle>
            <a:lvl1pPr marL="0" indent="0" algn="l" rtl="0">
              <a:spcAft>
                <a:spcPts val="0"/>
              </a:spcAft>
              <a:buNone/>
              <a:defRPr sz="1400" b="0" cap="all" spc="30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536433" indent="0" algn="ctr">
              <a:buNone/>
              <a:defRPr sz="2300"/>
            </a:lvl2pPr>
            <a:lvl3pPr marL="1072866" indent="0" algn="ctr">
              <a:buNone/>
              <a:defRPr sz="2100"/>
            </a:lvl3pPr>
            <a:lvl4pPr marL="1609298" indent="0" algn="ctr">
              <a:buNone/>
              <a:defRPr sz="1900"/>
            </a:lvl4pPr>
            <a:lvl5pPr marL="2145731" indent="0" algn="ctr">
              <a:buNone/>
              <a:defRPr sz="1900"/>
            </a:lvl5pPr>
            <a:lvl6pPr marL="2682164" indent="0" algn="ctr">
              <a:buNone/>
              <a:defRPr sz="1900"/>
            </a:lvl6pPr>
            <a:lvl7pPr marL="3218597" indent="0" algn="ctr">
              <a:buNone/>
              <a:defRPr sz="1900"/>
            </a:lvl7pPr>
            <a:lvl8pPr marL="3755029" indent="0" algn="ctr">
              <a:buNone/>
              <a:defRPr sz="1900"/>
            </a:lvl8pPr>
            <a:lvl9pPr marL="4291462" indent="0" algn="ctr">
              <a:buNone/>
              <a:defRPr sz="1900"/>
            </a:lvl9pPr>
          </a:lstStyle>
          <a:p>
            <a:r>
              <a:rPr lang="en-GB"/>
              <a:t>Sub-title and dat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481900" y="2269732"/>
            <a:ext cx="8082916" cy="646331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buFont typeface="Arial" panose="020B0604020202020204" pitchFamily="34" charset="0"/>
              <a:buNone/>
              <a:defRPr sz="4200" b="0" baseline="0">
                <a:solidFill>
                  <a:schemeClr val="bg1"/>
                </a:solidFill>
                <a:latin typeface="Lato Light" panose="020F0302020204030203" pitchFamily="34" charset="0"/>
              </a:defRPr>
            </a:lvl1pPr>
          </a:lstStyle>
          <a:p>
            <a:pPr lvl="0"/>
            <a:r>
              <a:rPr lang="en-GB"/>
              <a:t>Title is </a:t>
            </a:r>
            <a:r>
              <a:rPr lang="en-GB" err="1"/>
              <a:t>Lato</a:t>
            </a:r>
            <a:r>
              <a:rPr lang="en-GB"/>
              <a:t> Light 42 poin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1373990"/>
            <a:ext cx="2250831" cy="3474237"/>
          </a:xfrm>
          <a:prstGeom prst="rect">
            <a:avLst/>
          </a:prstGeom>
          <a:solidFill>
            <a:srgbClr val="881946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4625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600" kern="1200">
              <a:solidFill>
                <a:schemeClr val="tx1"/>
              </a:solidFill>
              <a:latin typeface="+mj-lt"/>
              <a:ea typeface="+mn-ea"/>
              <a:cs typeface="Arial" pitchFamily="34" charset="0"/>
            </a:endParaRPr>
          </a:p>
        </p:txBody>
      </p:sp>
      <p:cxnSp>
        <p:nvCxnSpPr>
          <p:cNvPr id="13" name="Line"/>
          <p:cNvCxnSpPr>
            <a:cxnSpLocks/>
          </p:cNvCxnSpPr>
          <p:nvPr userDrawn="1"/>
        </p:nvCxnSpPr>
        <p:spPr>
          <a:xfrm>
            <a:off x="3481899" y="3221788"/>
            <a:ext cx="562708" cy="0"/>
          </a:xfrm>
          <a:prstGeom prst="line">
            <a:avLst/>
          </a:prstGeom>
          <a:ln w="28575">
            <a:solidFill>
              <a:srgbClr val="881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4269587" y="6321805"/>
            <a:ext cx="3652828" cy="399402"/>
          </a:xfrm>
        </p:spPr>
        <p:txBody>
          <a:bodyPr anchor="ctr">
            <a:noAutofit/>
          </a:bodyPr>
          <a:lstStyle>
            <a:lvl1pPr marL="0" indent="0" algn="ctr" rtl="0">
              <a:buNone/>
              <a:defRPr>
                <a:solidFill>
                  <a:srgbClr val="606060"/>
                </a:solidFill>
              </a:defRPr>
            </a:lvl1pPr>
          </a:lstStyle>
          <a:p>
            <a:r>
              <a:rPr lang="en-GB"/>
              <a:t>Add client logo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6696C55-12B8-467C-9654-B2DDB66F9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09354" y="914401"/>
            <a:ext cx="2571262" cy="1254125"/>
          </a:xfrm>
        </p:spPr>
        <p:txBody>
          <a:bodyPr/>
          <a:lstStyle>
            <a:lvl1pPr marL="0" indent="0" rtl="0">
              <a:buNone/>
              <a:defRPr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o insert photo overlay, refer to instructions at end of deck</a:t>
            </a:r>
          </a:p>
        </p:txBody>
      </p:sp>
      <p:pic>
        <p:nvPicPr>
          <p:cNvPr id="15" name="Picture 14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C62A2859-6F85-4C83-9AFB-2F5BE490308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236" y="2815276"/>
            <a:ext cx="1621638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221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orient="horz" pos="2106">
          <p15:clr>
            <a:srgbClr val="FBAE40"/>
          </p15:clr>
        </p15:guide>
        <p15:guide id="3" orient="horz" pos="1968">
          <p15:clr>
            <a:srgbClr val="FBAE40"/>
          </p15:clr>
        </p15:guide>
        <p15:guide id="4" pos="720">
          <p15:clr>
            <a:srgbClr val="FBAE40"/>
          </p15:clr>
        </p15:guide>
        <p15:guide id="5" orient="horz" pos="2376">
          <p15:clr>
            <a:srgbClr val="FBAE40"/>
          </p15:clr>
        </p15:guide>
        <p15:guide id="6" orient="horz" pos="2240">
          <p15:clr>
            <a:srgbClr val="FBAE40"/>
          </p15:clr>
        </p15:guide>
        <p15:guide id="7" orient="horz" pos="2510">
          <p15:clr>
            <a:srgbClr val="FBAE40"/>
          </p15:clr>
        </p15:guide>
        <p15:guide id="8" orient="horz" pos="264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633247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83" imgH="385" progId="TCLayout.ActiveDocument.1">
                  <p:embed/>
                </p:oleObj>
              </mc:Choice>
              <mc:Fallback>
                <p:oleObj name="Diapositive think-cell" r:id="rId4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b="0" i="0" kern="1200" baseline="0">
              <a:solidFill>
                <a:schemeClr val="tx1"/>
              </a:solidFill>
              <a:latin typeface="Lato"/>
              <a:ea typeface="+mn-ea"/>
              <a:cs typeface="+mn-cs"/>
              <a:sym typeface="Lato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43688" y="91963"/>
            <a:ext cx="10621127" cy="800219"/>
          </a:xfrm>
        </p:spPr>
        <p:txBody>
          <a:bodyPr vert="horz" wrap="square" anchor="ctr">
            <a:spAutoFit/>
          </a:bodyPr>
          <a:lstStyle>
            <a:lvl1pPr rtl="0">
              <a:defRPr sz="2600" baseline="0">
                <a:solidFill>
                  <a:srgbClr val="881946"/>
                </a:solidFill>
                <a:latin typeface="+mj-lt"/>
              </a:defRPr>
            </a:lvl1pPr>
          </a:lstStyle>
          <a:p>
            <a:r>
              <a:rPr lang="en-GB"/>
              <a:t>Title of the slide in </a:t>
            </a:r>
            <a:r>
              <a:rPr lang="en-GB" err="1"/>
              <a:t>Lato</a:t>
            </a:r>
            <a:r>
              <a:rPr lang="en-GB"/>
              <a:t> 26 points.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idx="1" hasCustomPrompt="1"/>
          </p:nvPr>
        </p:nvSpPr>
        <p:spPr bwMode="gray">
          <a:xfrm>
            <a:off x="943689" y="1257300"/>
            <a:ext cx="10621127" cy="50673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>
                <a:solidFill>
                  <a:srgbClr val="606060"/>
                </a:solidFill>
              </a:defRPr>
            </a:lvl1pPr>
            <a:lvl2pPr rtl="0">
              <a:defRPr>
                <a:solidFill>
                  <a:srgbClr val="606060"/>
                </a:solidFill>
              </a:defRPr>
            </a:lvl2pPr>
            <a:lvl3pPr rtl="0">
              <a:defRPr>
                <a:solidFill>
                  <a:srgbClr val="606060"/>
                </a:solidFill>
              </a:defRPr>
            </a:lvl3pPr>
            <a:lvl4pPr rtl="0">
              <a:defRPr>
                <a:solidFill>
                  <a:srgbClr val="606060"/>
                </a:solidFill>
              </a:defRPr>
            </a:lvl4pPr>
            <a:lvl5pPr rtl="0">
              <a:defRPr>
                <a:solidFill>
                  <a:srgbClr val="606060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A2B38C2-8EBF-44D9-AADD-9BEE9D9CD2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3689" y="6377706"/>
            <a:ext cx="8059634" cy="307777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000" baseline="0">
                <a:solidFill>
                  <a:srgbClr val="606060"/>
                </a:solidFill>
              </a:defRPr>
            </a:lvl1pPr>
          </a:lstStyle>
          <a:p>
            <a:pPr lvl="0"/>
            <a:r>
              <a:rPr lang="en-GB"/>
              <a:t>This space is reserved for footnotes and sources only, and cannot be expanded beyond its current size.                                        Source: [Author/Publisher Name], [Report Name], [Year]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12FB7793-89EE-4C02-98F1-0964680438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276" y="399738"/>
            <a:ext cx="468922" cy="184666"/>
          </a:xfrm>
        </p:spPr>
        <p:txBody>
          <a:bodyPr wrap="square" anchor="ctr">
            <a:spAutoFit/>
          </a:bodyPr>
          <a:lstStyle>
            <a:lvl1pPr marL="0" indent="0" algn="ctr" rtl="0">
              <a:spcAft>
                <a:spcPts val="1200"/>
              </a:spcAft>
              <a:buNone/>
              <a:defRPr sz="12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63C9505D-B686-4DE6-95DF-7AD3105F89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43978" y="6529864"/>
            <a:ext cx="28003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 rtl="0">
              <a:defRPr sz="1000">
                <a:solidFill>
                  <a:schemeClr val="bg1"/>
                </a:solidFill>
                <a:latin typeface="Lato" panose="020F0502020204030203" pitchFamily="34" charset="0"/>
                <a:cs typeface="Arial" pitchFamily="34" charset="0"/>
              </a:defRPr>
            </a:lvl1pPr>
          </a:lstStyle>
          <a:p>
            <a:fld id="{A90607E6-BCED-4FC1-A345-AB2A307AB80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02143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 + takeawa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289167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83" imgH="385" progId="TCLayout.ActiveDocument.1">
                  <p:embed/>
                </p:oleObj>
              </mc:Choice>
              <mc:Fallback>
                <p:oleObj name="Diapositive think-cell" r:id="rId3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>
            <a:spLocks/>
          </p:cNvSpPr>
          <p:nvPr userDrawn="1"/>
        </p:nvSpPr>
        <p:spPr>
          <a:xfrm>
            <a:off x="1" y="0"/>
            <a:ext cx="629470" cy="984142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943689" y="91963"/>
            <a:ext cx="10618842" cy="800219"/>
          </a:xfrm>
        </p:spPr>
        <p:txBody>
          <a:bodyPr vert="horz" wrap="square">
            <a:spAutoFit/>
          </a:bodyPr>
          <a:lstStyle>
            <a:lvl1pPr rtl="0">
              <a:defRPr sz="2600" baseline="0">
                <a:solidFill>
                  <a:srgbClr val="881946"/>
                </a:solidFill>
                <a:latin typeface="+mj-lt"/>
              </a:defRPr>
            </a:lvl1pPr>
          </a:lstStyle>
          <a:p>
            <a:r>
              <a:rPr lang="en-GB"/>
              <a:t>Title of the slide in </a:t>
            </a:r>
            <a:r>
              <a:rPr lang="en-GB" err="1"/>
              <a:t>Lato</a:t>
            </a:r>
            <a:r>
              <a:rPr lang="en-GB"/>
              <a:t> 26 points</a:t>
            </a:r>
            <a:br>
              <a:rPr lang="en-GB"/>
            </a:br>
            <a:r>
              <a:rPr lang="en-GB"/>
              <a:t>Max 2 lin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0D95A394-4E1F-4F2F-AB8C-19CB500312E6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943689" y="1257300"/>
            <a:ext cx="10621127" cy="50673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>
                <a:solidFill>
                  <a:srgbClr val="606060"/>
                </a:solidFill>
              </a:defRPr>
            </a:lvl1pPr>
            <a:lvl2pPr rtl="0">
              <a:defRPr>
                <a:solidFill>
                  <a:srgbClr val="606060"/>
                </a:solidFill>
              </a:defRPr>
            </a:lvl2pPr>
            <a:lvl3pPr rtl="0">
              <a:defRPr>
                <a:solidFill>
                  <a:srgbClr val="606060"/>
                </a:solidFill>
              </a:defRPr>
            </a:lvl3pPr>
            <a:lvl4pPr rtl="0">
              <a:defRPr>
                <a:solidFill>
                  <a:srgbClr val="606060"/>
                </a:solidFill>
              </a:defRPr>
            </a:lvl4pPr>
            <a:lvl5pPr rtl="0">
              <a:defRPr>
                <a:solidFill>
                  <a:srgbClr val="606060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943689" y="6377706"/>
            <a:ext cx="8059634" cy="307777"/>
          </a:xfrm>
        </p:spPr>
        <p:txBody>
          <a:bodyPr wrap="square" anchor="b">
            <a:spAutoFit/>
          </a:bodyPr>
          <a:lstStyle>
            <a:lvl1pPr marL="0" indent="0" rtl="0">
              <a:buNone/>
              <a:defRPr sz="1000" baseline="0">
                <a:solidFill>
                  <a:srgbClr val="606060"/>
                </a:solidFill>
              </a:defRPr>
            </a:lvl1pPr>
          </a:lstStyle>
          <a:p>
            <a:pPr lvl="0"/>
            <a:r>
              <a:rPr lang="en-GB"/>
              <a:t>This space is reserved for footnotes and sources only, and cannot be expanded beyond its current size.                                        Source: [Author/Publisher Name], [Report Name], [Year]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1162004" y="5553610"/>
            <a:ext cx="10182212" cy="770990"/>
          </a:xfrm>
          <a:prstGeom prst="roundRect">
            <a:avLst>
              <a:gd name="adj" fmla="val 16667"/>
            </a:avLst>
          </a:prstGeom>
          <a:solidFill>
            <a:schemeClr val="tx2"/>
          </a:solidFill>
        </p:spPr>
        <p:txBody>
          <a:bodyPr wrap="square" lIns="182880" tIns="91440" rIns="182880" bIns="91440" anchor="ctr">
            <a:noAutofit/>
          </a:bodyPr>
          <a:lstStyle>
            <a:lvl1pPr marL="0" indent="0" algn="ctr" rtl="0">
              <a:buNone/>
              <a:defRPr sz="2000" b="0" i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2000" b="1">
                <a:solidFill>
                  <a:schemeClr val="bg1"/>
                </a:solidFill>
              </a:defRPr>
            </a:lvl4pPr>
            <a:lvl5pPr>
              <a:defRPr sz="2000" b="1" baseline="0">
                <a:solidFill>
                  <a:schemeClr val="bg1"/>
                </a:solidFill>
              </a:defRPr>
            </a:lvl5pPr>
            <a:lvl6pPr>
              <a:defRPr sz="2000" b="1" baseline="0">
                <a:solidFill>
                  <a:schemeClr val="bg1"/>
                </a:solidFill>
              </a:defRPr>
            </a:lvl6pPr>
            <a:lvl7pPr>
              <a:defRPr sz="2000" b="1" baseline="0">
                <a:solidFill>
                  <a:schemeClr val="bg1"/>
                </a:solidFill>
              </a:defRPr>
            </a:lvl7pPr>
            <a:lvl8pPr>
              <a:defRPr sz="2000" b="1">
                <a:solidFill>
                  <a:schemeClr val="bg1"/>
                </a:solidFill>
              </a:defRPr>
            </a:lvl8pPr>
            <a:lvl9pPr>
              <a:defRPr sz="20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Key takeaway in </a:t>
            </a:r>
            <a:r>
              <a:rPr lang="en-GB" err="1"/>
              <a:t>Lato</a:t>
            </a:r>
            <a:r>
              <a:rPr lang="en-GB"/>
              <a:t> 20 points Italics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C7627114-13E2-4A1D-B0FE-308C78ECDB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276" y="399738"/>
            <a:ext cx="468922" cy="184666"/>
          </a:xfrm>
        </p:spPr>
        <p:txBody>
          <a:bodyPr wrap="square" anchor="ctr">
            <a:spAutoFit/>
          </a:bodyPr>
          <a:lstStyle>
            <a:lvl1pPr marL="0" indent="0" algn="ctr" rtl="0">
              <a:spcAft>
                <a:spcPts val="1200"/>
              </a:spcAft>
              <a:buNone/>
              <a:defRPr sz="12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aseline="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2AB4C89-B1EC-4A14-ACBA-D8660D045E3E}"/>
              </a:ext>
            </a:extLst>
          </p:cNvPr>
          <p:cNvSpPr/>
          <p:nvPr userDrawn="1"/>
        </p:nvSpPr>
        <p:spPr>
          <a:xfrm>
            <a:off x="11562530" y="6359076"/>
            <a:ext cx="629470" cy="498924"/>
          </a:xfrm>
          <a:prstGeom prst="rect">
            <a:avLst/>
          </a:prstGeom>
          <a:solidFill>
            <a:srgbClr val="881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800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25137EBA-3F1B-47EF-AA71-4D15B4EA5E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743978" y="6529864"/>
            <a:ext cx="28003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 rtl="0">
              <a:defRPr sz="1000">
                <a:solidFill>
                  <a:schemeClr val="bg1"/>
                </a:solidFill>
                <a:latin typeface="Lato" panose="020F0502020204030203" pitchFamily="34" charset="0"/>
                <a:cs typeface="Arial" pitchFamily="34" charset="0"/>
              </a:defRPr>
            </a:lvl1pPr>
          </a:lstStyle>
          <a:p>
            <a:fld id="{A90607E6-BCED-4FC1-A345-AB2A307AB80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EFE7004-567E-4210-8FF4-138194224CC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0621" y="6511926"/>
            <a:ext cx="869730" cy="215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5255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189744178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3" imgW="383" imgH="385" progId="TCLayout.ActiveDocument.1">
                  <p:embed/>
                </p:oleObj>
              </mc:Choice>
              <mc:Fallback>
                <p:oleObj name="Diapositive think-cell" r:id="rId43" imgW="383" imgH="38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281563C-9DFD-4D84-BAC8-45E52A75C7F3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0" i="0" kern="1200" baseline="0">
              <a:solidFill>
                <a:schemeClr val="bg1"/>
              </a:solidFill>
              <a:latin typeface="Lato" panose="020F0502020204030203"/>
              <a:ea typeface="+mj-ea"/>
              <a:cs typeface="Arial" pitchFamily="34" charset="0"/>
              <a:sym typeface="Lato" panose="020F0502020204030203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43688" y="292016"/>
            <a:ext cx="10621127" cy="4001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43689" y="1257300"/>
            <a:ext cx="10621127" cy="498796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GB"/>
              <a:t>Click to edit Master text style</a:t>
            </a:r>
          </a:p>
          <a:p>
            <a:pPr lvl="1"/>
            <a:r>
              <a:rPr lang="en-GB"/>
              <a:t>Second level bullet point</a:t>
            </a:r>
          </a:p>
          <a:p>
            <a:pPr lvl="2"/>
            <a:r>
              <a:rPr lang="en-GB"/>
              <a:t>Third level bullet point</a:t>
            </a:r>
          </a:p>
          <a:p>
            <a:pPr lvl="3"/>
            <a:r>
              <a:rPr lang="en-GB"/>
              <a:t>Fourth level bullet point</a:t>
            </a:r>
          </a:p>
          <a:p>
            <a:pPr lvl="4"/>
            <a:r>
              <a:rPr lang="en-GB"/>
              <a:t>Fifth level bullet point</a:t>
            </a:r>
          </a:p>
          <a:p>
            <a:pPr lvl="5"/>
            <a:r>
              <a:rPr lang="en-GB"/>
              <a:t>Sixth level bullet point</a:t>
            </a:r>
          </a:p>
          <a:p>
            <a:pPr lvl="6"/>
            <a:r>
              <a:rPr lang="en-GB"/>
              <a:t>Seventh level bullet point</a:t>
            </a:r>
          </a:p>
          <a:p>
            <a:pPr lvl="7"/>
            <a:r>
              <a:rPr lang="en-GB"/>
              <a:t>Eighth level bullet point</a:t>
            </a:r>
          </a:p>
          <a:p>
            <a:pPr lvl="8"/>
            <a:r>
              <a:rPr lang="en-GB"/>
              <a:t>Ninth level bullet poi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743978" y="6529864"/>
            <a:ext cx="28003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 rtl="0">
              <a:defRPr sz="1000">
                <a:solidFill>
                  <a:schemeClr val="tx1"/>
                </a:solidFill>
                <a:latin typeface="Lato" panose="020F0502020204030203" pitchFamily="34" charset="0"/>
                <a:cs typeface="Arial" pitchFamily="34" charset="0"/>
              </a:defRPr>
            </a:lvl1pPr>
          </a:lstStyle>
          <a:p>
            <a:fld id="{A90607E6-BCED-4FC1-A345-AB2A307AB80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3659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4" r:id="rId39"/>
  </p:sldLayoutIdLst>
  <p:hf hdr="0" ftr="0" dt="0"/>
  <p:txStyles>
    <p:titleStyle>
      <a:lvl1pPr algn="l" defTabSz="1072866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rgbClr val="881946"/>
          </a:solidFill>
          <a:latin typeface="+mj-lt"/>
          <a:ea typeface="+mj-ea"/>
          <a:cs typeface="Arial" pitchFamily="34" charset="0"/>
        </a:defRPr>
      </a:lvl1pPr>
    </p:titleStyle>
    <p:bodyStyle>
      <a:lvl1pPr marL="201162" indent="-201162" algn="l" defTabSz="107286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rgbClr val="606060"/>
          </a:solidFill>
          <a:latin typeface="Lato" panose="020F0502020204030203" pitchFamily="34" charset="0"/>
          <a:ea typeface="+mn-ea"/>
          <a:cs typeface="Arial" pitchFamily="34" charset="0"/>
        </a:defRPr>
      </a:lvl1pPr>
      <a:lvl2pPr marL="402325" indent="-201162" algn="l" defTabSz="1072866" rtl="0" eaLnBrk="1" latinLnBrk="0" hangingPunct="1">
        <a:lnSpc>
          <a:spcPct val="100000"/>
        </a:lnSpc>
        <a:spcBef>
          <a:spcPts val="0"/>
        </a:spcBef>
        <a:buFont typeface="Homebase 12 Light" panose="020B0300000000000000" pitchFamily="34" charset="0"/>
        <a:buChar char="–"/>
        <a:defRPr sz="1200" kern="1200" baseline="0">
          <a:solidFill>
            <a:srgbClr val="606060"/>
          </a:solidFill>
          <a:latin typeface="Lato" panose="020F0502020204030203" pitchFamily="34" charset="0"/>
          <a:ea typeface="+mn-ea"/>
          <a:cs typeface="Arial" pitchFamily="34" charset="0"/>
        </a:defRPr>
      </a:lvl2pPr>
      <a:lvl3pPr marL="603487" indent="-201162" algn="l" defTabSz="107286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200" kern="1200" baseline="0">
          <a:solidFill>
            <a:srgbClr val="606060"/>
          </a:solidFill>
          <a:latin typeface="Lato" panose="020F0502020204030203" pitchFamily="34" charset="0"/>
          <a:ea typeface="+mn-ea"/>
          <a:cs typeface="Arial" pitchFamily="34" charset="0"/>
        </a:defRPr>
      </a:lvl3pPr>
      <a:lvl4pPr marL="804649" indent="-201162" algn="l" defTabSz="1072866" rtl="0" eaLnBrk="1" latinLnBrk="0" hangingPunct="1">
        <a:lnSpc>
          <a:spcPct val="100000"/>
        </a:lnSpc>
        <a:spcBef>
          <a:spcPts val="0"/>
        </a:spcBef>
        <a:buFont typeface="Homebase 12 Light" panose="020B0300000000000000" pitchFamily="34" charset="0"/>
        <a:buChar char="–"/>
        <a:defRPr sz="1200" kern="1200" baseline="0">
          <a:solidFill>
            <a:srgbClr val="606060"/>
          </a:solidFill>
          <a:latin typeface="Lato" panose="020F0502020204030203" pitchFamily="34" charset="0"/>
          <a:ea typeface="+mn-ea"/>
          <a:cs typeface="Arial" pitchFamily="34" charset="0"/>
        </a:defRPr>
      </a:lvl4pPr>
      <a:lvl5pPr marL="1005811" indent="-201162" algn="l" defTabSz="107286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200" kern="1200" baseline="0">
          <a:solidFill>
            <a:srgbClr val="606060"/>
          </a:solidFill>
          <a:latin typeface="Lato" panose="020F0502020204030203" pitchFamily="34" charset="0"/>
          <a:ea typeface="+mn-ea"/>
          <a:cs typeface="Arial" pitchFamily="34" charset="0"/>
        </a:defRPr>
      </a:lvl5pPr>
      <a:lvl6pPr marL="1206974" indent="-201162" algn="l" defTabSz="1072866" rtl="0" eaLnBrk="1" latinLnBrk="0" hangingPunct="1">
        <a:lnSpc>
          <a:spcPct val="100000"/>
        </a:lnSpc>
        <a:spcBef>
          <a:spcPts val="0"/>
        </a:spcBef>
        <a:buFont typeface="Homebase 12 Light" panose="020B0300000000000000" pitchFamily="34" charset="0"/>
        <a:buChar char="–"/>
        <a:defRPr sz="1200" kern="1200" baseline="0">
          <a:solidFill>
            <a:srgbClr val="606060"/>
          </a:solidFill>
          <a:latin typeface="Lato" panose="020F0502020204030203" pitchFamily="34" charset="0"/>
          <a:ea typeface="+mn-ea"/>
          <a:cs typeface="+mn-cs"/>
        </a:defRPr>
      </a:lvl6pPr>
      <a:lvl7pPr marL="1408136" indent="-197437" algn="l" defTabSz="107286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200" kern="1200" baseline="0">
          <a:solidFill>
            <a:srgbClr val="606060"/>
          </a:solidFill>
          <a:latin typeface="Lato" panose="020F0502020204030203" pitchFamily="34" charset="0"/>
          <a:ea typeface="+mn-ea"/>
          <a:cs typeface="+mn-cs"/>
        </a:defRPr>
      </a:lvl7pPr>
      <a:lvl8pPr marL="1609298" indent="-204888" algn="l" defTabSz="1072866" rtl="0" eaLnBrk="1" latinLnBrk="0" hangingPunct="1">
        <a:lnSpc>
          <a:spcPct val="100000"/>
        </a:lnSpc>
        <a:spcBef>
          <a:spcPts val="0"/>
        </a:spcBef>
        <a:buFont typeface="Homebase 12 Light" panose="020B0300000000000000" pitchFamily="34" charset="0"/>
        <a:buChar char="–"/>
        <a:defRPr sz="1200" kern="1200" baseline="0">
          <a:solidFill>
            <a:srgbClr val="606060"/>
          </a:solidFill>
          <a:latin typeface="Lato" panose="020F0502020204030203" pitchFamily="34" charset="0"/>
          <a:ea typeface="+mn-ea"/>
          <a:cs typeface="+mn-cs"/>
        </a:defRPr>
      </a:lvl8pPr>
      <a:lvl9pPr marL="1743406" indent="-197437" algn="l" defTabSz="107286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200" kern="1200" baseline="0">
          <a:solidFill>
            <a:srgbClr val="606060"/>
          </a:solidFill>
          <a:latin typeface="Lato" panose="020F0502020204030203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6543DE36-CCA6-07E3-0D93-6A11F5E7065C}"/>
              </a:ext>
            </a:extLst>
          </p:cNvPr>
          <p:cNvSpPr txBox="1">
            <a:spLocks/>
          </p:cNvSpPr>
          <p:nvPr userDrawn="1"/>
        </p:nvSpPr>
        <p:spPr>
          <a:xfrm>
            <a:off x="0" y="6645897"/>
            <a:ext cx="12192000" cy="212103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marL="227013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56E47BD-EDA0-8127-BF95-8E0C11CB519B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1046375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marL="227013" indent="0"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-1"/>
            <a:ext cx="12012706" cy="10463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4311" y="1253330"/>
            <a:ext cx="11699449" cy="51030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417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  <p:sldLayoutId id="2147483719" r:id="rId14"/>
    <p:sldLayoutId id="2147483720" r:id="rId15"/>
    <p:sldLayoutId id="2147483721" r:id="rId16"/>
    <p:sldLayoutId id="2147483722" r:id="rId17"/>
  </p:sldLayoutIdLst>
  <p:hf hdr="0" ftr="0" dt="0"/>
  <p:txStyles>
    <p:titleStyle>
      <a:lvl1pPr marL="112713" indent="0" algn="l" defTabSz="914363" rtl="0" eaLnBrk="1" latinLnBrk="0" hangingPunct="1">
        <a:lnSpc>
          <a:spcPct val="12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Helvetica" panose="020B0604020202020204" pitchFamily="34" charset="0"/>
        </a:defRPr>
      </a:lvl1pPr>
    </p:titleStyle>
    <p:bodyStyle>
      <a:lvl1pPr marL="228591" indent="-228591" algn="l" defTabSz="91436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7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4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6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8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9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svg"/><Relationship Id="rId7" Type="http://schemas.openxmlformats.org/officeDocument/2006/relationships/image" Target="../media/image38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7.png"/><Relationship Id="rId5" Type="http://schemas.openxmlformats.org/officeDocument/2006/relationships/image" Target="../media/image36.svg"/><Relationship Id="rId4" Type="http://schemas.openxmlformats.org/officeDocument/2006/relationships/image" Target="../media/image35.png"/><Relationship Id="rId9" Type="http://schemas.openxmlformats.org/officeDocument/2006/relationships/image" Target="../media/image40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4D644F2-946C-44EC-A8BA-8A0EBDF79E9F}"/>
              </a:ext>
            </a:extLst>
          </p:cNvPr>
          <p:cNvSpPr/>
          <p:nvPr/>
        </p:nvSpPr>
        <p:spPr>
          <a:xfrm>
            <a:off x="0" y="1107584"/>
            <a:ext cx="12192000" cy="2884867"/>
          </a:xfrm>
          <a:prstGeom prst="rect">
            <a:avLst/>
          </a:prstGeom>
          <a:solidFill>
            <a:srgbClr val="170E3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80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96E23188-5E04-4A86-B54C-FEA0B0DA3AB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71256" y="2543410"/>
            <a:ext cx="5520745" cy="431459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E6D1E476-B1D5-458A-8FEB-1A3230C04BC1}"/>
              </a:ext>
            </a:extLst>
          </p:cNvPr>
          <p:cNvSpPr txBox="1">
            <a:spLocks/>
          </p:cNvSpPr>
          <p:nvPr/>
        </p:nvSpPr>
        <p:spPr>
          <a:xfrm>
            <a:off x="189300" y="1916499"/>
            <a:ext cx="11813400" cy="10221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j-ea"/>
                <a:cs typeface="+mj-cs"/>
              </a:rPr>
              <a:t>Measuring Impact and Creating Evidenc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592648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">
            <a:extLst>
              <a:ext uri="{FF2B5EF4-FFF2-40B4-BE49-F238E27FC236}">
                <a16:creationId xmlns:a16="http://schemas.microsoft.com/office/drawing/2014/main" id="{ED99AEE2-BEC1-4029-AE29-862AA386157E}"/>
              </a:ext>
            </a:extLst>
          </p:cNvPr>
          <p:cNvSpPr txBox="1">
            <a:spLocks/>
          </p:cNvSpPr>
          <p:nvPr/>
        </p:nvSpPr>
        <p:spPr>
          <a:xfrm>
            <a:off x="336237" y="206380"/>
            <a:ext cx="11855763" cy="660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12713" indent="0" algn="l" defTabSz="914363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Helvetica" panose="020B0604020202020204" pitchFamily="34" charset="0"/>
              </a:defRPr>
            </a:lvl1pPr>
          </a:lstStyle>
          <a:p>
            <a:pPr marL="112713" marR="0" lvl="0" indent="0" algn="l" defTabSz="914363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/>
                <a:ea typeface="+mj-ea"/>
                <a:cs typeface="Helvetica" panose="020B0604020202020204" pitchFamily="34" charset="0"/>
              </a:rPr>
              <a:t>We-Fi Knowledge Strategy</a:t>
            </a:r>
          </a:p>
        </p:txBody>
      </p:sp>
      <p:sp>
        <p:nvSpPr>
          <p:cNvPr id="2" name="Slide Number Placeholder 43">
            <a:extLst>
              <a:ext uri="{FF2B5EF4-FFF2-40B4-BE49-F238E27FC236}">
                <a16:creationId xmlns:a16="http://schemas.microsoft.com/office/drawing/2014/main" id="{C35D6637-E518-5568-6D69-2CFB8BCE57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3700" y="6576678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FEFF3B-99AB-4392-AB7E-AE8F15289D4F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EF911F-9F53-77F6-DE5C-F7965784AB2C}"/>
              </a:ext>
            </a:extLst>
          </p:cNvPr>
          <p:cNvSpPr txBox="1"/>
          <p:nvPr/>
        </p:nvSpPr>
        <p:spPr>
          <a:xfrm>
            <a:off x="748918" y="1649783"/>
            <a:ext cx="4127643" cy="46782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In the GC meeting on November 10, 2022 (Paris), the Secretariat presented its plan to </a:t>
            </a:r>
            <a:r>
              <a:rPr lang="en-US" b="1" dirty="0"/>
              <a:t>move from an ‘ad hoc’ approach to a more structured knowledge approach </a:t>
            </a:r>
            <a:r>
              <a:rPr lang="en-US" dirty="0"/>
              <a:t>(based on the recommendation in the MTR</a:t>
            </a:r>
            <a:r>
              <a:rPr lang="en-CH" dirty="0"/>
              <a:t>)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CH" dirty="0"/>
              <a:t>The KM objective is to understanding what works and </a:t>
            </a:r>
            <a:r>
              <a:rPr lang="en-CH" b="1" dirty="0"/>
              <a:t>improve implementation outcomes for practitioners and impacts for women entrepreneurs </a:t>
            </a:r>
            <a:r>
              <a:rPr lang="en-CH" dirty="0"/>
              <a:t>by </a:t>
            </a:r>
            <a:r>
              <a:rPr lang="en-GB" dirty="0"/>
              <a:t>facilitating the creation, curation and dissemination of evidence and knowledge to better understand what work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A63067C-2EEF-49C8-8E5C-C3113A61B8D2}"/>
              </a:ext>
            </a:extLst>
          </p:cNvPr>
          <p:cNvSpPr txBox="1"/>
          <p:nvPr/>
        </p:nvSpPr>
        <p:spPr bwMode="gray">
          <a:xfrm>
            <a:off x="5106243" y="1682475"/>
            <a:ext cx="624224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CH" dirty="0"/>
              <a:t>We-Fi’s </a:t>
            </a:r>
            <a:r>
              <a:rPr lang="en-CH" b="1" dirty="0"/>
              <a:t>knowledge strategy </a:t>
            </a:r>
            <a:r>
              <a:rPr lang="en-GB" dirty="0"/>
              <a:t>aims to leverage evidence and knowledge from its network of MDBs as well as from the broader ecosystem and consists of two pillars: </a:t>
            </a:r>
            <a:endParaRPr lang="en-C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19FAC4-7273-77B2-6182-84D4FECFCEA8}"/>
              </a:ext>
            </a:extLst>
          </p:cNvPr>
          <p:cNvSpPr txBox="1"/>
          <p:nvPr/>
        </p:nvSpPr>
        <p:spPr>
          <a:xfrm>
            <a:off x="5599582" y="3099754"/>
            <a:ext cx="26452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CURATION &amp; DISSEMINATION</a:t>
            </a:r>
            <a:endParaRPr lang="en-CH" b="1" dirty="0"/>
          </a:p>
        </p:txBody>
      </p:sp>
      <p:sp>
        <p:nvSpPr>
          <p:cNvPr id="8" name="Round Single Corner Rectangle 53">
            <a:extLst>
              <a:ext uri="{FF2B5EF4-FFF2-40B4-BE49-F238E27FC236}">
                <a16:creationId xmlns:a16="http://schemas.microsoft.com/office/drawing/2014/main" id="{31CFBE47-E5C1-3666-5733-5898646DDCA7}"/>
              </a:ext>
            </a:extLst>
          </p:cNvPr>
          <p:cNvSpPr/>
          <p:nvPr/>
        </p:nvSpPr>
        <p:spPr>
          <a:xfrm rot="5400000">
            <a:off x="5259634" y="2895469"/>
            <a:ext cx="2798148" cy="3104930"/>
          </a:xfrm>
          <a:prstGeom prst="round1Rect">
            <a:avLst>
              <a:gd name="adj" fmla="val 21944"/>
            </a:avLst>
          </a:prstGeom>
          <a:noFill/>
          <a:ln w="25400">
            <a:solidFill>
              <a:srgbClr val="5A27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7B7320-38B5-01F3-FB05-F53E72E4325C}"/>
              </a:ext>
            </a:extLst>
          </p:cNvPr>
          <p:cNvSpPr/>
          <p:nvPr/>
        </p:nvSpPr>
        <p:spPr>
          <a:xfrm>
            <a:off x="5106243" y="3048860"/>
            <a:ext cx="598224" cy="584975"/>
          </a:xfrm>
          <a:prstGeom prst="rect">
            <a:avLst/>
          </a:prstGeom>
          <a:solidFill>
            <a:srgbClr val="5A2757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kern="1200" dirty="0" err="1">
              <a:ea typeface="+mn-ea"/>
              <a:cs typeface="Arial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81952B-579C-B5B9-5F65-6ABB250ECE67}"/>
              </a:ext>
            </a:extLst>
          </p:cNvPr>
          <p:cNvSpPr txBox="1"/>
          <p:nvPr/>
        </p:nvSpPr>
        <p:spPr>
          <a:xfrm>
            <a:off x="5139874" y="3153607"/>
            <a:ext cx="5309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1</a:t>
            </a:r>
            <a:endParaRPr lang="en-CH" b="1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7538A0-4EAB-47FC-53DC-B248E85DF515}"/>
              </a:ext>
            </a:extLst>
          </p:cNvPr>
          <p:cNvSpPr txBox="1"/>
          <p:nvPr/>
        </p:nvSpPr>
        <p:spPr bwMode="gray">
          <a:xfrm>
            <a:off x="5244758" y="3810556"/>
            <a:ext cx="2821587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113" lvl="1"/>
            <a:r>
              <a:rPr lang="en-US" i="1" dirty="0"/>
              <a:t>Aggregating, curating, and disseminating </a:t>
            </a:r>
            <a:r>
              <a:rPr lang="en-US" dirty="0"/>
              <a:t>evidence and knowledge from We-</a:t>
            </a:r>
            <a:r>
              <a:rPr lang="en-US" dirty="0" err="1"/>
              <a:t>Fi’s</a:t>
            </a:r>
            <a:r>
              <a:rPr lang="en-US" dirty="0"/>
              <a:t> network as well as from the wider ecosyste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D2EE730-8652-5B84-728A-288E19DF855B}"/>
              </a:ext>
            </a:extLst>
          </p:cNvPr>
          <p:cNvSpPr txBox="1"/>
          <p:nvPr/>
        </p:nvSpPr>
        <p:spPr>
          <a:xfrm>
            <a:off x="8588629" y="3100253"/>
            <a:ext cx="31049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EVIDENCE </a:t>
            </a:r>
          </a:p>
          <a:p>
            <a:pPr algn="ctr"/>
            <a:r>
              <a:rPr lang="en-US" b="1" dirty="0"/>
              <a:t>CREATION</a:t>
            </a:r>
            <a:endParaRPr lang="en-CH" b="1" dirty="0"/>
          </a:p>
        </p:txBody>
      </p:sp>
      <p:sp>
        <p:nvSpPr>
          <p:cNvPr id="13" name="Round Single Corner Rectangle 53">
            <a:extLst>
              <a:ext uri="{FF2B5EF4-FFF2-40B4-BE49-F238E27FC236}">
                <a16:creationId xmlns:a16="http://schemas.microsoft.com/office/drawing/2014/main" id="{3E48C41F-6426-6B23-851E-88766BEE203F}"/>
              </a:ext>
            </a:extLst>
          </p:cNvPr>
          <p:cNvSpPr/>
          <p:nvPr/>
        </p:nvSpPr>
        <p:spPr>
          <a:xfrm rot="5400000">
            <a:off x="8603505" y="2895469"/>
            <a:ext cx="2798148" cy="3104930"/>
          </a:xfrm>
          <a:prstGeom prst="round1Rect">
            <a:avLst>
              <a:gd name="adj" fmla="val 21944"/>
            </a:avLst>
          </a:prstGeom>
          <a:noFill/>
          <a:ln w="25400">
            <a:solidFill>
              <a:srgbClr val="5A27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391A68-1B7C-203D-E2D9-0A59EE654DC8}"/>
              </a:ext>
            </a:extLst>
          </p:cNvPr>
          <p:cNvSpPr/>
          <p:nvPr/>
        </p:nvSpPr>
        <p:spPr>
          <a:xfrm>
            <a:off x="8450114" y="3048860"/>
            <a:ext cx="598224" cy="584975"/>
          </a:xfrm>
          <a:prstGeom prst="rect">
            <a:avLst/>
          </a:prstGeom>
          <a:solidFill>
            <a:srgbClr val="5A2757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kern="1200" dirty="0" err="1">
              <a:ea typeface="+mn-ea"/>
              <a:cs typeface="Arial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1A4A348-955E-A162-297C-FD8A2F72A9B3}"/>
              </a:ext>
            </a:extLst>
          </p:cNvPr>
          <p:cNvSpPr txBox="1"/>
          <p:nvPr/>
        </p:nvSpPr>
        <p:spPr>
          <a:xfrm>
            <a:off x="8483745" y="3153607"/>
            <a:ext cx="5309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2</a:t>
            </a:r>
            <a:endParaRPr lang="en-CH" b="1" dirty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7329D3-EAEF-DA88-31EC-1A623A3F1CE3}"/>
              </a:ext>
            </a:extLst>
          </p:cNvPr>
          <p:cNvSpPr txBox="1"/>
          <p:nvPr/>
        </p:nvSpPr>
        <p:spPr bwMode="gray">
          <a:xfrm>
            <a:off x="8588629" y="3810556"/>
            <a:ext cx="282158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113" lvl="1"/>
            <a:r>
              <a:rPr lang="en-US" i="1" dirty="0"/>
              <a:t>Catalyzing efforts to create new evidence </a:t>
            </a:r>
            <a:r>
              <a:rPr lang="en-US" dirty="0"/>
              <a:t>on selected topics where evidence gaps persist</a:t>
            </a:r>
          </a:p>
        </p:txBody>
      </p:sp>
    </p:spTree>
    <p:extLst>
      <p:ext uri="{BB962C8B-B14F-4D97-AF65-F5344CB8AC3E}">
        <p14:creationId xmlns:p14="http://schemas.microsoft.com/office/powerpoint/2010/main" val="18407277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">
            <a:extLst>
              <a:ext uri="{FF2B5EF4-FFF2-40B4-BE49-F238E27FC236}">
                <a16:creationId xmlns:a16="http://schemas.microsoft.com/office/drawing/2014/main" id="{ED99AEE2-BEC1-4029-AE29-862AA386157E}"/>
              </a:ext>
            </a:extLst>
          </p:cNvPr>
          <p:cNvSpPr txBox="1">
            <a:spLocks/>
          </p:cNvSpPr>
          <p:nvPr/>
        </p:nvSpPr>
        <p:spPr>
          <a:xfrm>
            <a:off x="336237" y="206380"/>
            <a:ext cx="11855763" cy="660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12713" indent="0" algn="l" defTabSz="914363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Helvetica" panose="020B0604020202020204" pitchFamily="34" charset="0"/>
              </a:defRPr>
            </a:lvl1pPr>
          </a:lstStyle>
          <a:p>
            <a:pPr marL="112713" marR="0" lvl="0" indent="0" algn="l" defTabSz="914363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/>
                <a:ea typeface="+mj-ea"/>
                <a:cs typeface="Helvetica" panose="020B0604020202020204" pitchFamily="34" charset="0"/>
              </a:rPr>
              <a:t>FY23 Achievements to Date - Understanding What Works </a:t>
            </a:r>
          </a:p>
        </p:txBody>
      </p:sp>
      <p:sp>
        <p:nvSpPr>
          <p:cNvPr id="2" name="Slide Number Placeholder 43">
            <a:extLst>
              <a:ext uri="{FF2B5EF4-FFF2-40B4-BE49-F238E27FC236}">
                <a16:creationId xmlns:a16="http://schemas.microsoft.com/office/drawing/2014/main" id="{C35D6637-E518-5568-6D69-2CFB8BCE57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3700" y="6576678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FEFF3B-99AB-4392-AB7E-AE8F15289D4F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3" name="Round Single Corner Rectangle 53">
            <a:extLst>
              <a:ext uri="{FF2B5EF4-FFF2-40B4-BE49-F238E27FC236}">
                <a16:creationId xmlns:a16="http://schemas.microsoft.com/office/drawing/2014/main" id="{DACF618D-38BF-9CBD-E9A2-2224F195D27E}"/>
              </a:ext>
            </a:extLst>
          </p:cNvPr>
          <p:cNvSpPr/>
          <p:nvPr/>
        </p:nvSpPr>
        <p:spPr>
          <a:xfrm rot="5400000">
            <a:off x="702232" y="1206817"/>
            <a:ext cx="5043984" cy="5279912"/>
          </a:xfrm>
          <a:prstGeom prst="round1Rect">
            <a:avLst>
              <a:gd name="adj" fmla="val 10679"/>
            </a:avLst>
          </a:prstGeom>
          <a:noFill/>
          <a:ln w="25400">
            <a:solidFill>
              <a:srgbClr val="5A27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6" name="Round Single Corner Rectangle 53">
            <a:extLst>
              <a:ext uri="{FF2B5EF4-FFF2-40B4-BE49-F238E27FC236}">
                <a16:creationId xmlns:a16="http://schemas.microsoft.com/office/drawing/2014/main" id="{8A468947-8F2B-2804-5C85-19F04010E50A}"/>
              </a:ext>
            </a:extLst>
          </p:cNvPr>
          <p:cNvSpPr/>
          <p:nvPr/>
        </p:nvSpPr>
        <p:spPr>
          <a:xfrm rot="5400000">
            <a:off x="6344642" y="1257361"/>
            <a:ext cx="5043985" cy="5151722"/>
          </a:xfrm>
          <a:prstGeom prst="round1Rect">
            <a:avLst>
              <a:gd name="adj" fmla="val 9893"/>
            </a:avLst>
          </a:prstGeom>
          <a:noFill/>
          <a:ln w="25400">
            <a:solidFill>
              <a:srgbClr val="5A27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E93D31E-CDD1-20C8-373F-E9457B4BE314}"/>
              </a:ext>
            </a:extLst>
          </p:cNvPr>
          <p:cNvSpPr txBox="1"/>
          <p:nvPr/>
        </p:nvSpPr>
        <p:spPr>
          <a:xfrm>
            <a:off x="1183022" y="1461397"/>
            <a:ext cx="3803828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MY" sz="1500" b="1" dirty="0">
                <a:latin typeface="+mj-lt"/>
              </a:rPr>
              <a:t>CURATION AND DISSEMINATION</a:t>
            </a:r>
            <a:endParaRPr lang="en-US" sz="1500" dirty="0">
              <a:latin typeface="+mj-lt"/>
              <a:sym typeface="Wingdings" pitchFamily="2" charset="2"/>
            </a:endParaRPr>
          </a:p>
        </p:txBody>
      </p:sp>
      <p:pic>
        <p:nvPicPr>
          <p:cNvPr id="18" name="Picture 17" descr="Icon&#10;&#10;Description automatically generated">
            <a:extLst>
              <a:ext uri="{FF2B5EF4-FFF2-40B4-BE49-F238E27FC236}">
                <a16:creationId xmlns:a16="http://schemas.microsoft.com/office/drawing/2014/main" id="{E3A39E7B-6141-DAFF-6FA0-970C5D651E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675" y="1476860"/>
            <a:ext cx="279350" cy="27935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162773-0E33-799D-CAA5-BFB5FEE6E946}"/>
              </a:ext>
            </a:extLst>
          </p:cNvPr>
          <p:cNvSpPr txBox="1"/>
          <p:nvPr/>
        </p:nvSpPr>
        <p:spPr>
          <a:xfrm>
            <a:off x="6845493" y="1470398"/>
            <a:ext cx="4519754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MY" sz="1500" b="1" dirty="0">
                <a:latin typeface="+mj-lt"/>
              </a:rPr>
              <a:t>EVIDENCE CREATION</a:t>
            </a:r>
            <a:endParaRPr lang="en-US" sz="1500" dirty="0">
              <a:latin typeface="+mj-lt"/>
              <a:sym typeface="Wingdings" pitchFamily="2" charset="2"/>
            </a:endParaRPr>
          </a:p>
        </p:txBody>
      </p:sp>
      <p:pic>
        <p:nvPicPr>
          <p:cNvPr id="21" name="Picture 20" descr="Icon&#10;&#10;Description automatically generated">
            <a:extLst>
              <a:ext uri="{FF2B5EF4-FFF2-40B4-BE49-F238E27FC236}">
                <a16:creationId xmlns:a16="http://schemas.microsoft.com/office/drawing/2014/main" id="{18189FEB-3247-B481-B79D-C2A2900590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62934" y="1483304"/>
            <a:ext cx="279350" cy="27935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00C37F4-07D8-855B-DBF6-C88833299C75}"/>
              </a:ext>
            </a:extLst>
          </p:cNvPr>
          <p:cNvSpPr txBox="1"/>
          <p:nvPr/>
        </p:nvSpPr>
        <p:spPr>
          <a:xfrm>
            <a:off x="843757" y="1870327"/>
            <a:ext cx="4916836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latin typeface="+mj-lt"/>
              </a:rPr>
              <a:t>Evidence Paper </a:t>
            </a:r>
            <a:r>
              <a:rPr lang="en-US" sz="1400" dirty="0">
                <a:latin typeface="+mj-lt"/>
              </a:rPr>
              <a:t>(June 2022):</a:t>
            </a:r>
            <a:r>
              <a:rPr lang="en-US" sz="1400" b="1" dirty="0">
                <a:latin typeface="+mj-lt"/>
              </a:rPr>
              <a:t> </a:t>
            </a:r>
            <a:r>
              <a:rPr lang="en-US" sz="1400" dirty="0">
                <a:latin typeface="+mj-lt"/>
              </a:rPr>
              <a:t>Conducted literature review to understand evidence supporting We-</a:t>
            </a:r>
            <a:r>
              <a:rPr lang="en-US" sz="1400" dirty="0" err="1">
                <a:latin typeface="+mj-lt"/>
              </a:rPr>
              <a:t>Fi’s</a:t>
            </a:r>
            <a:r>
              <a:rPr lang="en-US" sz="1400" dirty="0">
                <a:latin typeface="+mj-lt"/>
              </a:rPr>
              <a:t> Theory of Change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latin typeface="+mj-lt"/>
              </a:rPr>
              <a:t>Evidence Snapshots </a:t>
            </a:r>
            <a:r>
              <a:rPr lang="en-US" sz="1400" dirty="0">
                <a:latin typeface="+mj-lt"/>
              </a:rPr>
              <a:t>(ongoing):</a:t>
            </a:r>
            <a:r>
              <a:rPr lang="en-US" sz="1400" b="1" dirty="0">
                <a:latin typeface="+mj-lt"/>
              </a:rPr>
              <a:t> </a:t>
            </a:r>
            <a:r>
              <a:rPr lang="en-US" sz="1400" dirty="0">
                <a:latin typeface="+mj-lt"/>
              </a:rPr>
              <a:t>Short notes on selected focus topics (i.e., Access to Credit, Access to Skills) to share evidence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latin typeface="+mj-lt"/>
              </a:rPr>
              <a:t>Knowledge Portal </a:t>
            </a:r>
            <a:r>
              <a:rPr lang="en-US" sz="1400" dirty="0">
                <a:latin typeface="+mj-lt"/>
              </a:rPr>
              <a:t>(April 2023): Launched searchable database of curated resources for policymakers and development practitioners to know what works to support WSMEs</a:t>
            </a:r>
          </a:p>
        </p:txBody>
      </p:sp>
      <p:pic>
        <p:nvPicPr>
          <p:cNvPr id="23" name="Picture 2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88F09D9C-2542-DAA8-169A-90EF9B29678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6660" y="4632242"/>
            <a:ext cx="2511404" cy="1673816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22031B93-999E-1BC8-4AE5-45FD8F194060}"/>
              </a:ext>
            </a:extLst>
          </p:cNvPr>
          <p:cNvSpPr txBox="1"/>
          <p:nvPr/>
        </p:nvSpPr>
        <p:spPr>
          <a:xfrm>
            <a:off x="6602609" y="1841661"/>
            <a:ext cx="4672761" cy="38779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latin typeface="+mj-lt"/>
              </a:rPr>
              <a:t>Research Agenda </a:t>
            </a:r>
            <a:r>
              <a:rPr lang="en-US" sz="1400" dirty="0">
                <a:latin typeface="+mj-lt"/>
              </a:rPr>
              <a:t>(January 2023 ongoing):</a:t>
            </a:r>
            <a:r>
              <a:rPr lang="en-US" sz="1400" b="1" dirty="0">
                <a:latin typeface="+mj-lt"/>
              </a:rPr>
              <a:t> </a:t>
            </a:r>
            <a:r>
              <a:rPr lang="en-US" sz="1400" dirty="0">
                <a:latin typeface="+mj-lt"/>
              </a:rPr>
              <a:t>Built consensus amongst IPs and knowledge partners on a research agenda for 2023-2027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latin typeface="+mj-lt"/>
              </a:rPr>
              <a:t>Knowledge Partnerships: </a:t>
            </a:r>
            <a:r>
              <a:rPr lang="en-US" sz="1400" dirty="0">
                <a:latin typeface="+mj-lt"/>
              </a:rPr>
              <a:t>EBRD reached out to We-Fi to organize joint research conference in Fall 2023 with the aim to: </a:t>
            </a:r>
          </a:p>
          <a:p>
            <a:pPr marL="536575" lvl="1" indent="-171450">
              <a:spcAft>
                <a:spcPts val="1200"/>
              </a:spcAft>
              <a:buFont typeface="System Font Regular"/>
              <a:buChar char="-"/>
            </a:pPr>
            <a:r>
              <a:rPr lang="en-US" sz="1400" noProof="1">
                <a:latin typeface="+mj-lt"/>
              </a:rPr>
              <a:t>Promote new research and evidence in priority research topics</a:t>
            </a:r>
          </a:p>
          <a:p>
            <a:pPr marL="536575" lvl="1" indent="-171450">
              <a:spcAft>
                <a:spcPts val="1200"/>
              </a:spcAft>
              <a:buFont typeface="System Font Regular"/>
              <a:buChar char="-"/>
            </a:pPr>
            <a:r>
              <a:rPr lang="en-US" sz="1400" noProof="1">
                <a:latin typeface="+mj-lt"/>
              </a:rPr>
              <a:t>Discuss application of new research findings to the design and implementation of projects</a:t>
            </a:r>
          </a:p>
          <a:p>
            <a:pPr marL="536575" lvl="1" indent="-171450">
              <a:spcAft>
                <a:spcPts val="1200"/>
              </a:spcAft>
              <a:buFont typeface="System Font Regular"/>
              <a:buChar char="-"/>
            </a:pPr>
            <a:r>
              <a:rPr lang="en-US" sz="1400" noProof="1">
                <a:latin typeface="+mj-lt"/>
              </a:rPr>
              <a:t>Catalyze efforts to generate new evidence on selected focus topics, and determine key objectives and milestones going forward</a:t>
            </a:r>
            <a:endParaRPr lang="en-US" sz="1600" b="1" noProof="1">
              <a:latin typeface="+mj-lt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1400" dirty="0">
              <a:latin typeface="+mj-lt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79439844-304F-9B6D-A76C-D846C1EA95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50720" y="5733952"/>
            <a:ext cx="664143" cy="300682"/>
          </a:xfrm>
          <a:prstGeom prst="rect">
            <a:avLst/>
          </a:prstGeom>
        </p:spPr>
      </p:pic>
      <p:pic>
        <p:nvPicPr>
          <p:cNvPr id="26" name="Picture 2" descr="Argidius Foundation | EVPA">
            <a:extLst>
              <a:ext uri="{FF2B5EF4-FFF2-40B4-BE49-F238E27FC236}">
                <a16:creationId xmlns:a16="http://schemas.microsoft.com/office/drawing/2014/main" id="{1CA2AA97-B8F3-FFC0-EAE5-25361AA6AA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309" b="31352"/>
          <a:stretch/>
        </p:blipFill>
        <p:spPr bwMode="auto">
          <a:xfrm>
            <a:off x="6687647" y="5678618"/>
            <a:ext cx="1245989" cy="440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6" descr="Global Entrepreneurship Monitor: Informe GEM España 2016 - Comunicación |  Nacional | EmprenemJunts">
            <a:extLst>
              <a:ext uri="{FF2B5EF4-FFF2-40B4-BE49-F238E27FC236}">
                <a16:creationId xmlns:a16="http://schemas.microsoft.com/office/drawing/2014/main" id="{716869B3-DBD9-ED59-4775-61F77ED1F8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42" t="24804" r="56461" b="22535"/>
          <a:stretch/>
        </p:blipFill>
        <p:spPr bwMode="auto">
          <a:xfrm>
            <a:off x="8841351" y="5641562"/>
            <a:ext cx="617109" cy="553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C7831D68-4145-1AF7-8280-4DC57D7FB1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1378" y="4770480"/>
            <a:ext cx="1009650" cy="131921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5D923441-2F3A-CD73-DEE6-93AE5DF1FA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80444" y="4770480"/>
            <a:ext cx="750076" cy="954943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FD18B7FE-0408-2C0B-F41D-69E5943427B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29580" y="4990891"/>
            <a:ext cx="750076" cy="954943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2FEF8B68-A9C4-F16F-0097-298037B014B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00107" y="5195820"/>
            <a:ext cx="750076" cy="954943"/>
          </a:xfrm>
          <a:prstGeom prst="rect">
            <a:avLst/>
          </a:prstGeom>
        </p:spPr>
      </p:pic>
      <p:pic>
        <p:nvPicPr>
          <p:cNvPr id="32" name="Picture 31" descr="EBRD Logo, symbol, meaning, history, PNG, brand">
            <a:extLst>
              <a:ext uri="{FF2B5EF4-FFF2-40B4-BE49-F238E27FC236}">
                <a16:creationId xmlns:a16="http://schemas.microsoft.com/office/drawing/2014/main" id="{C1FE35A7-B27C-D79D-8BFD-566B10F66D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6499" y="5430087"/>
            <a:ext cx="1534718" cy="863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27570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">
            <a:extLst>
              <a:ext uri="{FF2B5EF4-FFF2-40B4-BE49-F238E27FC236}">
                <a16:creationId xmlns:a16="http://schemas.microsoft.com/office/drawing/2014/main" id="{ED99AEE2-BEC1-4029-AE29-862AA386157E}"/>
              </a:ext>
            </a:extLst>
          </p:cNvPr>
          <p:cNvSpPr txBox="1">
            <a:spLocks/>
          </p:cNvSpPr>
          <p:nvPr/>
        </p:nvSpPr>
        <p:spPr>
          <a:xfrm>
            <a:off x="336237" y="206380"/>
            <a:ext cx="11855763" cy="660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12713" indent="0" algn="l" defTabSz="914363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Helvetica" panose="020B0604020202020204" pitchFamily="34" charset="0"/>
              </a:defRPr>
            </a:lvl1pPr>
          </a:lstStyle>
          <a:p>
            <a:pPr marL="112713" marR="0" lvl="0" indent="0" algn="l" defTabSz="914363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/>
                <a:ea typeface="+mj-ea"/>
                <a:cs typeface="Helvetica" panose="020B0604020202020204" pitchFamily="34" charset="0"/>
              </a:rPr>
              <a:t>FY24 Work Plan – Understanding What Works</a:t>
            </a:r>
          </a:p>
        </p:txBody>
      </p:sp>
      <p:sp>
        <p:nvSpPr>
          <p:cNvPr id="2" name="Slide Number Placeholder 43">
            <a:extLst>
              <a:ext uri="{FF2B5EF4-FFF2-40B4-BE49-F238E27FC236}">
                <a16:creationId xmlns:a16="http://schemas.microsoft.com/office/drawing/2014/main" id="{C35D6637-E518-5568-6D69-2CFB8BCE57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3700" y="6576678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FEFF3B-99AB-4392-AB7E-AE8F15289D4F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9F13E6E-76FE-1F74-3B2F-25AD563DB952}"/>
              </a:ext>
            </a:extLst>
          </p:cNvPr>
          <p:cNvSpPr txBox="1"/>
          <p:nvPr/>
        </p:nvSpPr>
        <p:spPr>
          <a:xfrm>
            <a:off x="593562" y="5546998"/>
            <a:ext cx="1750006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MY" sz="1500" b="1" dirty="0">
                <a:solidFill>
                  <a:srgbClr val="AE4A85"/>
                </a:solidFill>
                <a:latin typeface="Helvetica" pitchFamily="2" charset="0"/>
              </a:rPr>
              <a:t>SYNTHESIZING THEMATIC KNOWLEDGE</a:t>
            </a:r>
            <a:endParaRPr lang="en-US" sz="1500" dirty="0">
              <a:solidFill>
                <a:srgbClr val="AE4A85"/>
              </a:solidFill>
              <a:latin typeface="Helvetica" pitchFamily="2" charset="0"/>
              <a:sym typeface="Wingdings" pitchFamily="2" charset="2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FBBA644-8ED9-3287-BBAF-E9C71704483C}"/>
              </a:ext>
            </a:extLst>
          </p:cNvPr>
          <p:cNvCxnSpPr/>
          <p:nvPr/>
        </p:nvCxnSpPr>
        <p:spPr>
          <a:xfrm>
            <a:off x="2343568" y="5546998"/>
            <a:ext cx="0" cy="784830"/>
          </a:xfrm>
          <a:prstGeom prst="line">
            <a:avLst/>
          </a:prstGeom>
          <a:ln w="38100">
            <a:solidFill>
              <a:srgbClr val="EE71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E1E899E-F717-7FA5-99C0-CB8D5D4C8929}"/>
              </a:ext>
            </a:extLst>
          </p:cNvPr>
          <p:cNvSpPr txBox="1"/>
          <p:nvPr/>
        </p:nvSpPr>
        <p:spPr bwMode="gray">
          <a:xfrm>
            <a:off x="2566243" y="5546998"/>
            <a:ext cx="851793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effectLst/>
                <a:latin typeface="Helvetica,Bold"/>
              </a:rPr>
              <a:t>Climate: </a:t>
            </a:r>
            <a:r>
              <a:rPr lang="en-GB" sz="1600" dirty="0">
                <a:latin typeface="Helvetica" pitchFamily="2" charset="0"/>
              </a:rPr>
              <a:t>D</a:t>
            </a:r>
            <a:r>
              <a:rPr lang="en-GB" sz="1600" dirty="0">
                <a:effectLst/>
                <a:latin typeface="Helvetica" pitchFamily="2" charset="0"/>
              </a:rPr>
              <a:t>eep dive paper on Climate and Women’s Entrepreneurship</a:t>
            </a:r>
            <a:endParaRPr lang="en-GB" sz="1600" dirty="0">
              <a:latin typeface="Helvetica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effectLst/>
                <a:latin typeface="Helvetica,Bold"/>
              </a:rPr>
              <a:t>Code: </a:t>
            </a:r>
            <a:r>
              <a:rPr lang="en-GB" sz="1600" dirty="0">
                <a:latin typeface="Helvetica" pitchFamily="2" charset="0"/>
              </a:rPr>
              <a:t>P</a:t>
            </a:r>
            <a:r>
              <a:rPr lang="en-GB" sz="1600" dirty="0">
                <a:effectLst/>
                <a:latin typeface="Helvetica" pitchFamily="2" charset="0"/>
              </a:rPr>
              <a:t>laybook for use for launch by WE Finance Code Pilot Countries</a:t>
            </a:r>
            <a:endParaRPr lang="en-GB" sz="1600" dirty="0">
              <a:latin typeface="Helvetica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effectLst/>
                <a:latin typeface="Helvetica,Bold"/>
              </a:rPr>
              <a:t>Care: </a:t>
            </a:r>
            <a:r>
              <a:rPr lang="en-GB" sz="1600" dirty="0">
                <a:latin typeface="Helvetica" pitchFamily="2" charset="0"/>
              </a:rPr>
              <a:t>Deep</a:t>
            </a:r>
            <a:r>
              <a:rPr lang="en-GB" sz="1600" b="1" dirty="0">
                <a:latin typeface="Helvetica" pitchFamily="2" charset="0"/>
              </a:rPr>
              <a:t> </a:t>
            </a:r>
            <a:r>
              <a:rPr lang="en-GB" sz="1600" dirty="0">
                <a:effectLst/>
                <a:latin typeface="Helvetica" pitchFamily="2" charset="0"/>
              </a:rPr>
              <a:t>dive paper on WSMEs in the Care Economy (child-, elder- &amp; healthcare)</a:t>
            </a:r>
            <a:endParaRPr lang="en-GB" sz="1600" dirty="0">
              <a:effectLst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93919F-B267-9587-7223-F0626F108AE2}"/>
              </a:ext>
            </a:extLst>
          </p:cNvPr>
          <p:cNvSpPr txBox="1"/>
          <p:nvPr/>
        </p:nvSpPr>
        <p:spPr>
          <a:xfrm>
            <a:off x="593562" y="3682754"/>
            <a:ext cx="1750006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MY" sz="1500" b="1" dirty="0">
                <a:solidFill>
                  <a:srgbClr val="AE4A85"/>
                </a:solidFill>
                <a:latin typeface="Helvetica" pitchFamily="2" charset="0"/>
              </a:rPr>
              <a:t>CATALYZING RESEARCH &amp; EVIDENCE</a:t>
            </a:r>
            <a:endParaRPr lang="en-US" sz="1500" dirty="0">
              <a:solidFill>
                <a:srgbClr val="AE4A85"/>
              </a:solidFill>
              <a:latin typeface="Helvetica" pitchFamily="2" charset="0"/>
              <a:sym typeface="Wingdings" pitchFamily="2" charset="2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DED32E-8BAD-269A-DF3B-79CEA379A954}"/>
              </a:ext>
            </a:extLst>
          </p:cNvPr>
          <p:cNvCxnSpPr>
            <a:cxnSpLocks/>
          </p:cNvCxnSpPr>
          <p:nvPr/>
        </p:nvCxnSpPr>
        <p:spPr>
          <a:xfrm>
            <a:off x="2343568" y="3005860"/>
            <a:ext cx="0" cy="2308324"/>
          </a:xfrm>
          <a:prstGeom prst="line">
            <a:avLst/>
          </a:prstGeom>
          <a:ln w="38100">
            <a:solidFill>
              <a:srgbClr val="EE71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CC5B7586-C1D6-7539-FF16-C87AC9169EBB}"/>
              </a:ext>
            </a:extLst>
          </p:cNvPr>
          <p:cNvSpPr txBox="1"/>
          <p:nvPr/>
        </p:nvSpPr>
        <p:spPr bwMode="gray">
          <a:xfrm>
            <a:off x="2566243" y="3005860"/>
            <a:ext cx="8790697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effectLst/>
                <a:latin typeface="Helvetica,Bold"/>
              </a:rPr>
              <a:t>Encourage Research: </a:t>
            </a:r>
            <a:r>
              <a:rPr lang="en-GB" sz="1600" dirty="0">
                <a:effectLst/>
                <a:latin typeface="Helvetica,Bold"/>
              </a:rPr>
              <a:t>Co-organize and collaborate on Research Conference hosted by EBRD in Fall 2023 to advance the WSME research agend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effectLst/>
                <a:latin typeface="Helvetica,Bold"/>
              </a:rPr>
              <a:t>Understand Constraints &amp; Intervention Effectiveness: </a:t>
            </a:r>
            <a:r>
              <a:rPr lang="en-GB" sz="1600" dirty="0">
                <a:effectLst/>
                <a:latin typeface="Helvetica,Bold"/>
              </a:rPr>
              <a:t>Support work to close gaps in understanding of WSME constraints and what works in addressing them</a:t>
            </a:r>
          </a:p>
          <a:p>
            <a:pPr marL="742950" lvl="1" indent="-285750">
              <a:buFont typeface="System Font Regular"/>
              <a:buChar char="-"/>
            </a:pPr>
            <a:r>
              <a:rPr lang="en-GB" sz="1600" i="1" dirty="0">
                <a:effectLst/>
                <a:latin typeface="Helvetica,Bold"/>
              </a:rPr>
              <a:t>Previously: </a:t>
            </a:r>
            <a:r>
              <a:rPr lang="en-GB" sz="1600" dirty="0">
                <a:effectLst/>
                <a:latin typeface="Helvetica,Bold"/>
              </a:rPr>
              <a:t>We-Fi Evidence Paper; GEM Women Entrepreneurs Policy Note, WB Gender Strategy Note on WSMEs</a:t>
            </a:r>
          </a:p>
          <a:p>
            <a:pPr marL="742950" lvl="1" indent="-285750">
              <a:buFont typeface="System Font Regular"/>
              <a:buChar char="-"/>
            </a:pPr>
            <a:r>
              <a:rPr lang="en-GB" sz="1600" i="1" dirty="0">
                <a:effectLst/>
                <a:latin typeface="Helvetica,Bold"/>
              </a:rPr>
              <a:t>Potential: </a:t>
            </a:r>
            <a:r>
              <a:rPr lang="en-GB" sz="1600" dirty="0">
                <a:effectLst/>
                <a:latin typeface="Helvetica,Bold"/>
              </a:rPr>
              <a:t>WSME Segmentation Study; WB Paper on WSMEs economic contrib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effectLst/>
                <a:latin typeface="Helvetica,Bold"/>
              </a:rPr>
              <a:t>Disseminate New Evidence: </a:t>
            </a:r>
            <a:r>
              <a:rPr lang="en-GB" sz="1600" dirty="0">
                <a:effectLst/>
                <a:latin typeface="Helvetica,Bold"/>
              </a:rPr>
              <a:t>Continue to build the evidence database (knowledge portal); disseminate monthly evidence snapshots</a:t>
            </a:r>
            <a:endParaRPr lang="en-GB" sz="1600" dirty="0">
              <a:effectLst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FEA05F2-C65A-5B7D-C043-456E9B73B3F5}"/>
              </a:ext>
            </a:extLst>
          </p:cNvPr>
          <p:cNvSpPr txBox="1"/>
          <p:nvPr/>
        </p:nvSpPr>
        <p:spPr>
          <a:xfrm>
            <a:off x="593575" y="1596572"/>
            <a:ext cx="1750006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MY" sz="1500" b="1" dirty="0">
                <a:solidFill>
                  <a:srgbClr val="AE4A85"/>
                </a:solidFill>
                <a:latin typeface="Helvetica" pitchFamily="2" charset="0"/>
              </a:rPr>
              <a:t>ENCOURAGING LEARNING AND APPLICATION</a:t>
            </a:r>
            <a:endParaRPr lang="en-US" sz="1500" dirty="0">
              <a:solidFill>
                <a:srgbClr val="AE4A85"/>
              </a:solidFill>
              <a:latin typeface="Helvetica" pitchFamily="2" charset="0"/>
              <a:sym typeface="Wingdings" pitchFamily="2" charset="2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BA914FC-2279-5922-DAC6-7A28373F5C3A}"/>
              </a:ext>
            </a:extLst>
          </p:cNvPr>
          <p:cNvCxnSpPr>
            <a:cxnSpLocks/>
          </p:cNvCxnSpPr>
          <p:nvPr/>
        </p:nvCxnSpPr>
        <p:spPr>
          <a:xfrm>
            <a:off x="2343581" y="1265926"/>
            <a:ext cx="0" cy="1564195"/>
          </a:xfrm>
          <a:prstGeom prst="line">
            <a:avLst/>
          </a:prstGeom>
          <a:ln w="38100">
            <a:solidFill>
              <a:srgbClr val="EE71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5AA33180-001B-853E-18B8-2C0771890247}"/>
              </a:ext>
            </a:extLst>
          </p:cNvPr>
          <p:cNvSpPr txBox="1"/>
          <p:nvPr/>
        </p:nvSpPr>
        <p:spPr bwMode="gray">
          <a:xfrm>
            <a:off x="2566255" y="1265926"/>
            <a:ext cx="9017445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effectLst/>
                <a:latin typeface="Helvetica,Bold"/>
              </a:rPr>
              <a:t>Webinars</a:t>
            </a:r>
            <a:r>
              <a:rPr lang="en-GB" sz="1600" dirty="0">
                <a:effectLst/>
                <a:latin typeface="Helvetica,Bold"/>
              </a:rPr>
              <a:t>: Discuss research findings, lessons from practitioners, design innovations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effectLst/>
                <a:latin typeface="Helvetica,Bold"/>
              </a:rPr>
              <a:t>IP Learning Sessions: </a:t>
            </a:r>
            <a:r>
              <a:rPr lang="en-GB" sz="1600" dirty="0">
                <a:effectLst/>
                <a:latin typeface="Helvetica,Bold"/>
              </a:rPr>
              <a:t>Share what works amongst practitioners</a:t>
            </a:r>
          </a:p>
          <a:p>
            <a:pPr marL="742950" lvl="1" indent="-285750">
              <a:buFont typeface="System Font Regular"/>
              <a:buChar char="-"/>
            </a:pPr>
            <a:r>
              <a:rPr lang="en-GB" sz="1600" dirty="0">
                <a:effectLst/>
                <a:latin typeface="Helvetica,Bold"/>
              </a:rPr>
              <a:t>Small side events associated with existing events (e.g., Financial Alliance for Women, Regional IP Learning Sessions, COP Workshop, Site Visits to We-Fi Projects)</a:t>
            </a:r>
          </a:p>
          <a:p>
            <a:pPr marL="742950" lvl="1" indent="-285750">
              <a:buFont typeface="System Font Regular"/>
              <a:buChar char="-"/>
            </a:pPr>
            <a:r>
              <a:rPr lang="en-GB" sz="1600" dirty="0">
                <a:effectLst/>
                <a:latin typeface="Helvetica,Bold"/>
              </a:rPr>
              <a:t>Potential event to convene IPs and broader stakeholder networks to discuss, learn and share what We-Fi has learned in first five years (would require sponsor, in FY24 or FY25)</a:t>
            </a:r>
            <a:endParaRPr lang="en-GB" sz="16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3694959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">
            <a:extLst>
              <a:ext uri="{FF2B5EF4-FFF2-40B4-BE49-F238E27FC236}">
                <a16:creationId xmlns:a16="http://schemas.microsoft.com/office/drawing/2014/main" id="{ED99AEE2-BEC1-4029-AE29-862AA386157E}"/>
              </a:ext>
            </a:extLst>
          </p:cNvPr>
          <p:cNvSpPr txBox="1">
            <a:spLocks/>
          </p:cNvSpPr>
          <p:nvPr/>
        </p:nvSpPr>
        <p:spPr>
          <a:xfrm>
            <a:off x="336237" y="206380"/>
            <a:ext cx="11855763" cy="660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12713" indent="0" algn="l" defTabSz="914363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Helvetica" panose="020B0604020202020204" pitchFamily="34" charset="0"/>
              </a:defRPr>
            </a:lvl1pPr>
          </a:lstStyle>
          <a:p>
            <a:pPr marL="112713" marR="0" lvl="0" indent="0" algn="l" defTabSz="914363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/>
                <a:ea typeface="+mj-ea"/>
                <a:cs typeface="Helvetica" panose="020B0604020202020204" pitchFamily="34" charset="0"/>
              </a:rPr>
              <a:t>We-Fi Research Agenda</a:t>
            </a:r>
          </a:p>
        </p:txBody>
      </p:sp>
      <p:sp>
        <p:nvSpPr>
          <p:cNvPr id="2" name="Slide Number Placeholder 43">
            <a:extLst>
              <a:ext uri="{FF2B5EF4-FFF2-40B4-BE49-F238E27FC236}">
                <a16:creationId xmlns:a16="http://schemas.microsoft.com/office/drawing/2014/main" id="{C35D6637-E518-5568-6D69-2CFB8BCE57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3700" y="6576678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FEFF3B-99AB-4392-AB7E-AE8F15289D4F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C6FE0B4-3CFB-F178-1659-CD9C5628682B}"/>
              </a:ext>
            </a:extLst>
          </p:cNvPr>
          <p:cNvGrpSpPr/>
          <p:nvPr/>
        </p:nvGrpSpPr>
        <p:grpSpPr>
          <a:xfrm>
            <a:off x="5667273" y="2335145"/>
            <a:ext cx="5823404" cy="3073155"/>
            <a:chOff x="2099879" y="1682496"/>
            <a:chExt cx="7045761" cy="3718223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CD15F03-9BB8-B4E6-0A5B-2F8E9A4D471A}"/>
                </a:ext>
              </a:extLst>
            </p:cNvPr>
            <p:cNvGrpSpPr/>
            <p:nvPr/>
          </p:nvGrpSpPr>
          <p:grpSpPr>
            <a:xfrm>
              <a:off x="2099879" y="1682496"/>
              <a:ext cx="7030712" cy="3718223"/>
              <a:chOff x="2249196" y="2365771"/>
              <a:chExt cx="4539934" cy="2400964"/>
            </a:xfrm>
          </p:grpSpPr>
          <p:sp>
            <p:nvSpPr>
              <p:cNvPr id="24" name="Rounded Rectangle 23">
                <a:extLst>
                  <a:ext uri="{FF2B5EF4-FFF2-40B4-BE49-F238E27FC236}">
                    <a16:creationId xmlns:a16="http://schemas.microsoft.com/office/drawing/2014/main" id="{4C01AF84-FBC2-7D10-595F-9B72D2BC9D5B}"/>
                  </a:ext>
                </a:extLst>
              </p:cNvPr>
              <p:cNvSpPr/>
              <p:nvPr/>
            </p:nvSpPr>
            <p:spPr>
              <a:xfrm>
                <a:off x="2249196" y="3792952"/>
                <a:ext cx="1422380" cy="971869"/>
              </a:xfrm>
              <a:prstGeom prst="roundRect">
                <a:avLst/>
              </a:prstGeom>
              <a:solidFill>
                <a:srgbClr val="EB6259">
                  <a:alpha val="22745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MY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5" name="Rounded Rectangle 24">
                <a:extLst>
                  <a:ext uri="{FF2B5EF4-FFF2-40B4-BE49-F238E27FC236}">
                    <a16:creationId xmlns:a16="http://schemas.microsoft.com/office/drawing/2014/main" id="{1DCB4F37-B23A-E155-6429-972C3C3B50BE}"/>
                  </a:ext>
                </a:extLst>
              </p:cNvPr>
              <p:cNvSpPr/>
              <p:nvPr/>
            </p:nvSpPr>
            <p:spPr>
              <a:xfrm>
                <a:off x="5446101" y="2365771"/>
                <a:ext cx="1337857" cy="970458"/>
              </a:xfrm>
              <a:prstGeom prst="roundRect">
                <a:avLst/>
              </a:prstGeom>
              <a:solidFill>
                <a:srgbClr val="5A2757">
                  <a:alpha val="22745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MY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6" name="Rounded Rectangle 25">
                <a:extLst>
                  <a:ext uri="{FF2B5EF4-FFF2-40B4-BE49-F238E27FC236}">
                    <a16:creationId xmlns:a16="http://schemas.microsoft.com/office/drawing/2014/main" id="{249F5CC0-DA35-7811-8C5A-8594AEBC76FF}"/>
                  </a:ext>
                </a:extLst>
              </p:cNvPr>
              <p:cNvSpPr/>
              <p:nvPr/>
            </p:nvSpPr>
            <p:spPr>
              <a:xfrm>
                <a:off x="5451273" y="3788202"/>
                <a:ext cx="1337857" cy="978533"/>
              </a:xfrm>
              <a:prstGeom prst="roundRect">
                <a:avLst/>
              </a:prstGeom>
              <a:solidFill>
                <a:srgbClr val="D9535E">
                  <a:alpha val="23137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MY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7" name="Shape 1232">
                <a:extLst>
                  <a:ext uri="{FF2B5EF4-FFF2-40B4-BE49-F238E27FC236}">
                    <a16:creationId xmlns:a16="http://schemas.microsoft.com/office/drawing/2014/main" id="{E1265EAF-75E0-FF05-CF18-DD2AD4E7A534}"/>
                  </a:ext>
                </a:extLst>
              </p:cNvPr>
              <p:cNvSpPr/>
              <p:nvPr/>
            </p:nvSpPr>
            <p:spPr>
              <a:xfrm>
                <a:off x="3622168" y="2645013"/>
                <a:ext cx="1899665" cy="189966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FFFFFF">
                  <a:lumMod val="75000"/>
                </a:srgbClr>
              </a:solidFill>
              <a:ln w="254000">
                <a:solidFill>
                  <a:srgbClr val="FFFFFF"/>
                </a:solidFill>
                <a:miter lim="400000"/>
              </a:ln>
            </p:spPr>
            <p:txBody>
              <a:bodyPr lIns="28575" tIns="28575" rIns="28575" bIns="28575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28" name="Rounded Rectangle 27">
                <a:extLst>
                  <a:ext uri="{FF2B5EF4-FFF2-40B4-BE49-F238E27FC236}">
                    <a16:creationId xmlns:a16="http://schemas.microsoft.com/office/drawing/2014/main" id="{A0F87B03-B324-1365-268B-EB5366E59B8B}"/>
                  </a:ext>
                </a:extLst>
              </p:cNvPr>
              <p:cNvSpPr/>
              <p:nvPr/>
            </p:nvSpPr>
            <p:spPr>
              <a:xfrm>
                <a:off x="2253630" y="2367592"/>
                <a:ext cx="1422380" cy="974463"/>
              </a:xfrm>
              <a:prstGeom prst="roundRect">
                <a:avLst/>
              </a:prstGeom>
              <a:solidFill>
                <a:srgbClr val="9A2068">
                  <a:alpha val="23922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MY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9" name="Shape 1239">
                <a:extLst>
                  <a:ext uri="{FF2B5EF4-FFF2-40B4-BE49-F238E27FC236}">
                    <a16:creationId xmlns:a16="http://schemas.microsoft.com/office/drawing/2014/main" id="{FF6FD54E-98A6-FF6B-6B1A-0D7ACAD5061A}"/>
                  </a:ext>
                </a:extLst>
              </p:cNvPr>
              <p:cNvSpPr/>
              <p:nvPr/>
            </p:nvSpPr>
            <p:spPr>
              <a:xfrm>
                <a:off x="3425168" y="2820248"/>
                <a:ext cx="517058" cy="51705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9A2068"/>
              </a:solidFill>
              <a:ln w="76200">
                <a:solidFill>
                  <a:srgbClr val="FFFFFF"/>
                </a:solidFill>
                <a:miter lim="400000"/>
              </a:ln>
            </p:spPr>
            <p:txBody>
              <a:bodyPr lIns="28575" tIns="28575" rIns="28575" bIns="28575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30" name="Shape 1239">
                <a:extLst>
                  <a:ext uri="{FF2B5EF4-FFF2-40B4-BE49-F238E27FC236}">
                    <a16:creationId xmlns:a16="http://schemas.microsoft.com/office/drawing/2014/main" id="{3B1D8A37-9AE8-3D69-910E-5CEE7F1F9B92}"/>
                  </a:ext>
                </a:extLst>
              </p:cNvPr>
              <p:cNvSpPr/>
              <p:nvPr/>
            </p:nvSpPr>
            <p:spPr>
              <a:xfrm>
                <a:off x="3447184" y="3788202"/>
                <a:ext cx="517058" cy="51705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EB6259"/>
              </a:solidFill>
              <a:ln w="76200">
                <a:solidFill>
                  <a:srgbClr val="FFFFFF"/>
                </a:solidFill>
                <a:miter lim="400000"/>
              </a:ln>
            </p:spPr>
            <p:txBody>
              <a:bodyPr lIns="28575" tIns="28575" rIns="28575" bIns="28575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31" name="Shape 1239">
                <a:extLst>
                  <a:ext uri="{FF2B5EF4-FFF2-40B4-BE49-F238E27FC236}">
                    <a16:creationId xmlns:a16="http://schemas.microsoft.com/office/drawing/2014/main" id="{7DAEAA6D-1018-4B04-EA1E-E71F884DA672}"/>
                  </a:ext>
                </a:extLst>
              </p:cNvPr>
              <p:cNvSpPr/>
              <p:nvPr/>
            </p:nvSpPr>
            <p:spPr>
              <a:xfrm>
                <a:off x="5192744" y="2824998"/>
                <a:ext cx="517058" cy="51705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5A2757"/>
              </a:solidFill>
              <a:ln w="76200">
                <a:solidFill>
                  <a:srgbClr val="FFFFFF"/>
                </a:solidFill>
                <a:miter lim="400000"/>
              </a:ln>
            </p:spPr>
            <p:txBody>
              <a:bodyPr lIns="28575" tIns="28575" rIns="28575" bIns="28575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  <p:sp>
            <p:nvSpPr>
              <p:cNvPr id="32" name="Shape 1239">
                <a:extLst>
                  <a:ext uri="{FF2B5EF4-FFF2-40B4-BE49-F238E27FC236}">
                    <a16:creationId xmlns:a16="http://schemas.microsoft.com/office/drawing/2014/main" id="{A5297A8A-070D-7DF1-FC8D-D1DEE913618F}"/>
                  </a:ext>
                </a:extLst>
              </p:cNvPr>
              <p:cNvSpPr/>
              <p:nvPr/>
            </p:nvSpPr>
            <p:spPr>
              <a:xfrm>
                <a:off x="5214760" y="3792953"/>
                <a:ext cx="517058" cy="51705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D9535E"/>
              </a:solidFill>
              <a:ln w="76200">
                <a:solidFill>
                  <a:srgbClr val="FFFFFF"/>
                </a:solidFill>
                <a:miter lim="400000"/>
              </a:ln>
            </p:spPr>
            <p:txBody>
              <a:bodyPr lIns="28575" tIns="28575" rIns="28575" bIns="28575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endParaRPr>
              </a:p>
            </p:txBody>
          </p: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F566351-F415-361C-0F69-42C49C0CB7CE}"/>
                </a:ext>
              </a:extLst>
            </p:cNvPr>
            <p:cNvSpPr txBox="1"/>
            <p:nvPr/>
          </p:nvSpPr>
          <p:spPr>
            <a:xfrm>
              <a:off x="2426777" y="2126463"/>
              <a:ext cx="1432466" cy="781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AU" b="1" dirty="0"/>
                <a:t>Bundled Services 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800BBDF-A401-F46F-A706-DBAD4442C094}"/>
                </a:ext>
              </a:extLst>
            </p:cNvPr>
            <p:cNvSpPr txBox="1"/>
            <p:nvPr/>
          </p:nvSpPr>
          <p:spPr>
            <a:xfrm>
              <a:off x="2403740" y="4360497"/>
              <a:ext cx="1514606" cy="781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AU" b="1" dirty="0"/>
                <a:t>Blended Finance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367BB41-FF38-755E-A084-04C79E45682F}"/>
                </a:ext>
              </a:extLst>
            </p:cNvPr>
            <p:cNvSpPr txBox="1"/>
            <p:nvPr/>
          </p:nvSpPr>
          <p:spPr>
            <a:xfrm>
              <a:off x="7435513" y="2084764"/>
              <a:ext cx="1412725" cy="781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b="1" dirty="0"/>
                <a:t>Digital Finance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DED2179-D403-8315-E424-ED9895CD3B58}"/>
                </a:ext>
              </a:extLst>
            </p:cNvPr>
            <p:cNvSpPr txBox="1"/>
            <p:nvPr/>
          </p:nvSpPr>
          <p:spPr>
            <a:xfrm>
              <a:off x="7198888" y="4205135"/>
              <a:ext cx="1946752" cy="11171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AU" b="1" dirty="0"/>
                <a:t>Sex-disaggregated data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2149F4F-0CE2-5A30-D43D-AA3CDDE288CE}"/>
                </a:ext>
              </a:extLst>
            </p:cNvPr>
            <p:cNvSpPr txBox="1"/>
            <p:nvPr/>
          </p:nvSpPr>
          <p:spPr>
            <a:xfrm>
              <a:off x="4557635" y="2965316"/>
              <a:ext cx="2296912" cy="17874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AU" b="1" dirty="0"/>
                <a:t>Access to and effectiveness of </a:t>
              </a:r>
              <a:r>
                <a:rPr lang="en-AU" b="1" dirty="0">
                  <a:solidFill>
                    <a:schemeClr val="bg1"/>
                  </a:solidFill>
                  <a:highlight>
                    <a:srgbClr val="000000"/>
                  </a:highlight>
                </a:rPr>
                <a:t>debt financing </a:t>
              </a:r>
              <a:r>
                <a:rPr lang="en-AU" b="1" dirty="0"/>
                <a:t>on WSMEs</a:t>
              </a:r>
            </a:p>
          </p:txBody>
        </p:sp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10421471-88E8-BEBF-C1F7-ED71DE49BE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b="20380"/>
            <a:stretch/>
          </p:blipFill>
          <p:spPr>
            <a:xfrm>
              <a:off x="4044662" y="2574542"/>
              <a:ext cx="515936" cy="410791"/>
            </a:xfrm>
            <a:prstGeom prst="rect">
              <a:avLst/>
            </a:prstGeom>
          </p:spPr>
        </p:pic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047B9A7F-83C6-DD18-C959-CBE0773DF2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b="17334"/>
            <a:stretch/>
          </p:blipFill>
          <p:spPr>
            <a:xfrm>
              <a:off x="6704139" y="2509187"/>
              <a:ext cx="693174" cy="573024"/>
            </a:xfrm>
            <a:prstGeom prst="rect">
              <a:avLst/>
            </a:prstGeom>
          </p:spPr>
        </p:pic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FB1CBBAE-1CAC-9CBA-0B86-D37DDD391B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b="20380"/>
            <a:stretch/>
          </p:blipFill>
          <p:spPr>
            <a:xfrm>
              <a:off x="4036478" y="4009777"/>
              <a:ext cx="693078" cy="551832"/>
            </a:xfrm>
            <a:prstGeom prst="rect">
              <a:avLst/>
            </a:prstGeom>
          </p:spPr>
        </p:pic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42687AA6-1602-D56E-148E-57F5000E91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4575"/>
            <a:stretch/>
          </p:blipFill>
          <p:spPr>
            <a:xfrm>
              <a:off x="6803263" y="4042764"/>
              <a:ext cx="632250" cy="476878"/>
            </a:xfrm>
            <a:prstGeom prst="rect">
              <a:avLst/>
            </a:prstGeom>
          </p:spPr>
        </p:pic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034F90FD-8239-551A-3D89-A18CAE2F2C00}"/>
              </a:ext>
            </a:extLst>
          </p:cNvPr>
          <p:cNvSpPr txBox="1"/>
          <p:nvPr/>
        </p:nvSpPr>
        <p:spPr>
          <a:xfrm>
            <a:off x="687237" y="1255104"/>
            <a:ext cx="444531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dirty="0"/>
              <a:t>Builds on the key evidence gaps identified in the </a:t>
            </a:r>
            <a:r>
              <a:rPr lang="en-US" b="1" dirty="0"/>
              <a:t>evidence paper and peer review, as well as consultations / surveys </a:t>
            </a:r>
            <a:r>
              <a:rPr lang="en-US" dirty="0"/>
              <a:t>with IPs and other stakeholder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A8C287D-9134-147F-1C69-221380ADC1A4}"/>
              </a:ext>
            </a:extLst>
          </p:cNvPr>
          <p:cNvSpPr txBox="1"/>
          <p:nvPr/>
        </p:nvSpPr>
        <p:spPr bwMode="gray">
          <a:xfrm>
            <a:off x="7059453" y="1665825"/>
            <a:ext cx="29347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s-ES" b="1" dirty="0" err="1"/>
              <a:t>Priority</a:t>
            </a:r>
            <a:r>
              <a:rPr lang="es-ES" b="1" dirty="0"/>
              <a:t> </a:t>
            </a:r>
            <a:r>
              <a:rPr lang="es-ES" b="1" dirty="0" err="1"/>
              <a:t>Research</a:t>
            </a:r>
            <a:r>
              <a:rPr lang="es-ES" b="1" dirty="0"/>
              <a:t> </a:t>
            </a:r>
            <a:r>
              <a:rPr lang="es-ES" b="1" dirty="0" err="1"/>
              <a:t>Topics</a:t>
            </a:r>
            <a:endParaRPr lang="en-CH" b="1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5C4E10C-B10D-3246-21F0-1A6CEF359DB7}"/>
              </a:ext>
            </a:extLst>
          </p:cNvPr>
          <p:cNvSpPr txBox="1"/>
          <p:nvPr/>
        </p:nvSpPr>
        <p:spPr bwMode="gray">
          <a:xfrm>
            <a:off x="429596" y="2464258"/>
            <a:ext cx="4535305" cy="37240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50875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i="1" dirty="0"/>
              <a:t>Focus: </a:t>
            </a:r>
            <a:r>
              <a:rPr lang="en-US" dirty="0"/>
              <a:t>“What works in getting more and effective debt financing to WSMEs, how it impacts their business growth, job creation and women’s empowerment”</a:t>
            </a:r>
          </a:p>
          <a:p>
            <a:pPr marL="650875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i="1" dirty="0"/>
              <a:t>Approach: </a:t>
            </a:r>
            <a:r>
              <a:rPr lang="en-US" dirty="0"/>
              <a:t>Encourage research-practitioner collaborations to identify practical ways to improve outcomes for WSMEs</a:t>
            </a:r>
          </a:p>
          <a:p>
            <a:pPr marL="650875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i="1" dirty="0"/>
              <a:t>Key areas: </a:t>
            </a:r>
            <a:r>
              <a:rPr lang="en-US" dirty="0"/>
              <a:t>Debt financing, digital finance, bundled services, blended finance, and sex-disaggregated data</a:t>
            </a:r>
          </a:p>
        </p:txBody>
      </p:sp>
    </p:spTree>
    <p:extLst>
      <p:ext uri="{BB962C8B-B14F-4D97-AF65-F5344CB8AC3E}">
        <p14:creationId xmlns:p14="http://schemas.microsoft.com/office/powerpoint/2010/main" val="27115972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">
            <a:extLst>
              <a:ext uri="{FF2B5EF4-FFF2-40B4-BE49-F238E27FC236}">
                <a16:creationId xmlns:a16="http://schemas.microsoft.com/office/drawing/2014/main" id="{ED99AEE2-BEC1-4029-AE29-862AA386157E}"/>
              </a:ext>
            </a:extLst>
          </p:cNvPr>
          <p:cNvSpPr txBox="1">
            <a:spLocks/>
          </p:cNvSpPr>
          <p:nvPr/>
        </p:nvSpPr>
        <p:spPr>
          <a:xfrm>
            <a:off x="336237" y="206380"/>
            <a:ext cx="11855763" cy="660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12713" indent="0" algn="l" defTabSz="914363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Helvetica" panose="020B0604020202020204" pitchFamily="34" charset="0"/>
              </a:defRPr>
            </a:lvl1pPr>
          </a:lstStyle>
          <a:p>
            <a:pPr marL="112713" marR="0" lvl="0" indent="0" algn="l" defTabSz="914363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/>
                <a:ea typeface="+mj-ea"/>
                <a:cs typeface="Helvetica" panose="020B0604020202020204" pitchFamily="34" charset="0"/>
              </a:rPr>
              <a:t>We-Fi / EBRD Research Conference</a:t>
            </a:r>
          </a:p>
        </p:txBody>
      </p:sp>
      <p:sp>
        <p:nvSpPr>
          <p:cNvPr id="2" name="Slide Number Placeholder 43">
            <a:extLst>
              <a:ext uri="{FF2B5EF4-FFF2-40B4-BE49-F238E27FC236}">
                <a16:creationId xmlns:a16="http://schemas.microsoft.com/office/drawing/2014/main" id="{C35D6637-E518-5568-6D69-2CFB8BCE57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3700" y="6576678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FEFF3B-99AB-4392-AB7E-AE8F15289D4F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pic>
        <p:nvPicPr>
          <p:cNvPr id="4" name="Picture 2" descr="Women Entrepreneurs Finance Initiative | Women Entrepreneurs Finance  Initiative">
            <a:extLst>
              <a:ext uri="{FF2B5EF4-FFF2-40B4-BE49-F238E27FC236}">
                <a16:creationId xmlns:a16="http://schemas.microsoft.com/office/drawing/2014/main" id="{FE8FCBCC-714E-1B03-E90A-4CDBF91DB0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1408" y="3174994"/>
            <a:ext cx="2447596" cy="925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EBRD - European Bank for Reconstruction and Development | EVPA">
            <a:extLst>
              <a:ext uri="{FF2B5EF4-FFF2-40B4-BE49-F238E27FC236}">
                <a16:creationId xmlns:a16="http://schemas.microsoft.com/office/drawing/2014/main" id="{DB86DB4A-E348-4E20-1CDF-1065475BE6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10" b="13708"/>
          <a:stretch/>
        </p:blipFill>
        <p:spPr bwMode="auto">
          <a:xfrm>
            <a:off x="1584140" y="1322335"/>
            <a:ext cx="2180013" cy="1588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Centre for Economic Policy Research - Wikipedia">
            <a:extLst>
              <a:ext uri="{FF2B5EF4-FFF2-40B4-BE49-F238E27FC236}">
                <a16:creationId xmlns:a16="http://schemas.microsoft.com/office/drawing/2014/main" id="{872B67CA-A6ED-7320-545D-53DA1EEE5E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42" t="26996" r="15498" b="25364"/>
          <a:stretch/>
        </p:blipFill>
        <p:spPr bwMode="auto">
          <a:xfrm>
            <a:off x="1381408" y="4897301"/>
            <a:ext cx="2447596" cy="1057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Text, letter&#10;&#10;Description automatically generated">
            <a:extLst>
              <a:ext uri="{FF2B5EF4-FFF2-40B4-BE49-F238E27FC236}">
                <a16:creationId xmlns:a16="http://schemas.microsoft.com/office/drawing/2014/main" id="{DC6D14CA-E0CD-3756-DF30-565D52D1B7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4045" y="1452690"/>
            <a:ext cx="6898132" cy="466843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9660226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3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QDjN3T20qlnTfeoGH6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YCSHCNTn.uNYYrigDFH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QDjN3T20qlnTfeoGH6A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QDjN3T20qlnTfeoGH6A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QDjN3T20qlnTfeoGH6A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QDjN3T20qlnTfeoGH6A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QDjN3T20qlnTfeoGH6A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QDjN3T20qlnTfeoGH6A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7pNFxiJEqx9gflANDx_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rzYgi_tkun7liLBFJkk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qv0b_w60OOwNTXfRbWG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6J_l9X.kGGfF8CfsWWn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rzYgi_tkun7liLBFJk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7pNFxiJEqx9gflANDx_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rzYgi_tkun7liLBFJkk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1ZIeoNuEiInfIJxsqqa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PzXvUw_kKgr84TWhv1B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LGFrHa0EmD8I1i3zxpr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n1yArsd0q8CKDkdUn7Z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GBnmDPbU2UMdxM1dDyk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Y7oE10qruujyf11xs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0NjbVMuUiihQqC3M9bD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b4Qqepbk.Nguhb4VlAd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j.Iqy.gUykV8.OA_F2O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Dbnd5qbkiQYyJ0O8jn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lberg_Advisors_Master_20180604">
  <a:themeElements>
    <a:clrScheme name="Dalberg colours">
      <a:dk1>
        <a:srgbClr val="606060"/>
      </a:dk1>
      <a:lt1>
        <a:sysClr val="window" lastClr="FFFFFF"/>
      </a:lt1>
      <a:dk2>
        <a:srgbClr val="118AAA"/>
      </a:dk2>
      <a:lt2>
        <a:srgbClr val="FFFFFF"/>
      </a:lt2>
      <a:accent1>
        <a:srgbClr val="F3B11C"/>
      </a:accent1>
      <a:accent2>
        <a:srgbClr val="888381"/>
      </a:accent2>
      <a:accent3>
        <a:srgbClr val="000000"/>
      </a:accent3>
      <a:accent4>
        <a:srgbClr val="0D7741"/>
      </a:accent4>
      <a:accent5>
        <a:srgbClr val="4857A6"/>
      </a:accent5>
      <a:accent6>
        <a:srgbClr val="AB855F"/>
      </a:accent6>
      <a:hlink>
        <a:srgbClr val="222F66"/>
      </a:hlink>
      <a:folHlink>
        <a:srgbClr val="6068B0"/>
      </a:folHlink>
    </a:clrScheme>
    <a:fontScheme name="Dalberg_2018">
      <a:majorFont>
        <a:latin typeface="Lato"/>
        <a:ea typeface=""/>
        <a:cs typeface=""/>
      </a:majorFont>
      <a:minorFont>
        <a:latin typeface="Lat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14400" rtl="0" eaLnBrk="1" latinLnBrk="0" hangingPunct="1">
          <a:lnSpc>
            <a:spcPct val="100000"/>
          </a:lnSpc>
          <a:spcBef>
            <a:spcPts val="0"/>
          </a:spcBef>
          <a:defRPr sz="1600" kern="1200" dirty="0" err="1" smtClean="0">
            <a:solidFill>
              <a:schemeClr val="bg1"/>
            </a:solidFill>
            <a:ea typeface="+mn-ea"/>
            <a:cs typeface="Arial" pitchFamily="34" charset="0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wrap="square" lIns="0" tIns="0" rIns="0" bIns="0" rtlCol="0" anchor="t">
        <a:noAutofit/>
      </a:bodyPr>
      <a:lstStyle>
        <a:defPPr>
          <a:spcBef>
            <a:spcPts val="600"/>
          </a:spcBef>
          <a:defRPr dirty="0">
            <a:solidFill>
              <a:srgbClr val="60606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alberg PowerPoint_ALL BUSINESSES_A4_vFFF" id="{D103004E-FDBA-4476-AD4C-346EC6FCF100}" vid="{14AA505C-568A-4796-825D-C281346666F3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783876"/>
      </a:dk2>
      <a:lt2>
        <a:srgbClr val="EAE5EB"/>
      </a:lt2>
      <a:accent1>
        <a:srgbClr val="92278F"/>
      </a:accent1>
      <a:accent2>
        <a:srgbClr val="F0913A"/>
      </a:accent2>
      <a:accent3>
        <a:srgbClr val="CF2F8A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we-fi Helvetica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4578C4F266F345BC9CA4E571ADCDC3" ma:contentTypeVersion="16" ma:contentTypeDescription="Create a new document." ma:contentTypeScope="" ma:versionID="cac65b90517b0d5d0419d16b66a395ad">
  <xsd:schema xmlns:xsd="http://www.w3.org/2001/XMLSchema" xmlns:xs="http://www.w3.org/2001/XMLSchema" xmlns:p="http://schemas.microsoft.com/office/2006/metadata/properties" xmlns:ns2="fc5acc4e-0c25-495a-afe8-cebdbe1b35e5" xmlns:ns3="8c652d72-a731-4ede-abc3-d9bc4a2de092" xmlns:ns4="3e02667f-0271-471b-bd6e-11a2e16def1d" targetNamespace="http://schemas.microsoft.com/office/2006/metadata/properties" ma:root="true" ma:fieldsID="200b689632e6dc747ec8081b58d40bf2" ns2:_="" ns3:_="" ns4:_="">
    <xsd:import namespace="fc5acc4e-0c25-495a-afe8-cebdbe1b35e5"/>
    <xsd:import namespace="8c652d72-a731-4ede-abc3-d9bc4a2de092"/>
    <xsd:import namespace="3e02667f-0271-471b-bd6e-11a2e16def1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5acc4e-0c25-495a-afe8-cebdbe1b35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2a6c10d7-b926-4fc0-945e-3cbf5049f6b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652d72-a731-4ede-abc3-d9bc4a2de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02667f-0271-471b-bd6e-11a2e16def1d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4926b564-27c1-41a1-8131-4b8895b467a0}" ma:internalName="TaxCatchAll" ma:showField="CatchAllData" ma:web="8c652d72-a731-4ede-abc3-d9bc4a2de0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c5acc4e-0c25-495a-afe8-cebdbe1b35e5">
      <Terms xmlns="http://schemas.microsoft.com/office/infopath/2007/PartnerControls"/>
    </lcf76f155ced4ddcb4097134ff3c332f>
    <TaxCatchAll xmlns="3e02667f-0271-471b-bd6e-11a2e16def1d" xsi:nil="true"/>
  </documentManagement>
</p:properties>
</file>

<file path=customXml/itemProps1.xml><?xml version="1.0" encoding="utf-8"?>
<ds:datastoreItem xmlns:ds="http://schemas.openxmlformats.org/officeDocument/2006/customXml" ds:itemID="{56014700-CCA4-42E2-A558-2402929E5BF0}"/>
</file>

<file path=customXml/itemProps2.xml><?xml version="1.0" encoding="utf-8"?>
<ds:datastoreItem xmlns:ds="http://schemas.openxmlformats.org/officeDocument/2006/customXml" ds:itemID="{8E60EA59-7CFD-4E95-B90B-045EF28B31AB}"/>
</file>

<file path=customXml/itemProps3.xml><?xml version="1.0" encoding="utf-8"?>
<ds:datastoreItem xmlns:ds="http://schemas.openxmlformats.org/officeDocument/2006/customXml" ds:itemID="{60803911-7D85-4B04-AF4F-47599E80B174}"/>
</file>

<file path=docProps/app.xml><?xml version="1.0" encoding="utf-8"?>
<Properties xmlns="http://schemas.openxmlformats.org/officeDocument/2006/extended-properties" xmlns:vt="http://schemas.openxmlformats.org/officeDocument/2006/docPropsVTypes">
  <TotalTime>508</TotalTime>
  <Words>670</Words>
  <Application>Microsoft Office PowerPoint</Application>
  <PresentationFormat>Widescreen</PresentationFormat>
  <Paragraphs>56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7" baseType="lpstr">
      <vt:lpstr>Arial</vt:lpstr>
      <vt:lpstr>Calibri</vt:lpstr>
      <vt:lpstr>Helvetica</vt:lpstr>
      <vt:lpstr>Helvetica,Bold</vt:lpstr>
      <vt:lpstr>Homebase 12 Light</vt:lpstr>
      <vt:lpstr>Lato</vt:lpstr>
      <vt:lpstr>Lato Light</vt:lpstr>
      <vt:lpstr>System Font Regular</vt:lpstr>
      <vt:lpstr>Dalberg_Advisors_Master_20180604</vt:lpstr>
      <vt:lpstr>2_Office Theme</vt:lpstr>
      <vt:lpstr>Diapositive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Ozias Agbessadji</dc:creator>
  <cp:lastModifiedBy>Aurica Balmus</cp:lastModifiedBy>
  <cp:revision>10</cp:revision>
  <dcterms:created xsi:type="dcterms:W3CDTF">2021-05-31T14:48:36Z</dcterms:created>
  <dcterms:modified xsi:type="dcterms:W3CDTF">2023-06-14T14:50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i4>2</vt:i4>
  </property>
  <property fmtid="{D5CDD505-2E9C-101B-9397-08002B2CF9AE}" pid="3" name="ContentTypeId">
    <vt:lpwstr>0x010100AF4578C4F266F345BC9CA4E571ADCDC3</vt:lpwstr>
  </property>
</Properties>
</file>